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</p:sldMasterIdLst>
  <p:notesMasterIdLst>
    <p:notesMasterId r:id="rId63"/>
  </p:notesMasterIdLst>
  <p:sldIdLst>
    <p:sldId id="2134808908" r:id="rId5"/>
    <p:sldId id="2134808909" r:id="rId6"/>
    <p:sldId id="2134808910" r:id="rId7"/>
    <p:sldId id="2134808911" r:id="rId8"/>
    <p:sldId id="2134808912" r:id="rId9"/>
    <p:sldId id="2134808913" r:id="rId10"/>
    <p:sldId id="2134808914" r:id="rId11"/>
    <p:sldId id="2134808915" r:id="rId12"/>
    <p:sldId id="2134808916" r:id="rId13"/>
    <p:sldId id="2134808917" r:id="rId14"/>
    <p:sldId id="2134808918" r:id="rId15"/>
    <p:sldId id="2134808285" r:id="rId16"/>
    <p:sldId id="2134808919" r:id="rId17"/>
    <p:sldId id="2134808278" r:id="rId18"/>
    <p:sldId id="2134807223" r:id="rId19"/>
    <p:sldId id="2134808487" r:id="rId20"/>
    <p:sldId id="2134807776" r:id="rId21"/>
    <p:sldId id="2134808277" r:id="rId22"/>
    <p:sldId id="2134808517" r:id="rId23"/>
    <p:sldId id="2134808925" r:id="rId24"/>
    <p:sldId id="2134808515" r:id="rId25"/>
    <p:sldId id="2134808516" r:id="rId26"/>
    <p:sldId id="2134808490" r:id="rId27"/>
    <p:sldId id="2134808498" r:id="rId28"/>
    <p:sldId id="2134808514" r:id="rId29"/>
    <p:sldId id="2134808489" r:id="rId30"/>
    <p:sldId id="2134808492" r:id="rId31"/>
    <p:sldId id="2134808493" r:id="rId32"/>
    <p:sldId id="2134808874" r:id="rId33"/>
    <p:sldId id="2134808900" r:id="rId34"/>
    <p:sldId id="2134808240" r:id="rId35"/>
    <p:sldId id="2134808499" r:id="rId36"/>
    <p:sldId id="2134808500" r:id="rId37"/>
    <p:sldId id="2134808933" r:id="rId38"/>
    <p:sldId id="2147482370" r:id="rId39"/>
    <p:sldId id="2134808486" r:id="rId40"/>
    <p:sldId id="2147482369" r:id="rId41"/>
    <p:sldId id="2134808504" r:id="rId42"/>
    <p:sldId id="2134808505" r:id="rId43"/>
    <p:sldId id="2134807000" r:id="rId44"/>
    <p:sldId id="2134808508" r:id="rId45"/>
    <p:sldId id="2134808875" r:id="rId46"/>
    <p:sldId id="2134808950" r:id="rId47"/>
    <p:sldId id="2134808971" r:id="rId48"/>
    <p:sldId id="2134808972" r:id="rId49"/>
    <p:sldId id="2134806115" r:id="rId50"/>
    <p:sldId id="2134808979" r:id="rId51"/>
    <p:sldId id="2134808980" r:id="rId52"/>
    <p:sldId id="2134808506" r:id="rId53"/>
    <p:sldId id="2134808507" r:id="rId54"/>
    <p:sldId id="2134808431" r:id="rId55"/>
    <p:sldId id="2134808425" r:id="rId56"/>
    <p:sldId id="2134807507" r:id="rId57"/>
    <p:sldId id="2134807508" r:id="rId58"/>
    <p:sldId id="2134808805" r:id="rId59"/>
    <p:sldId id="2134808775" r:id="rId60"/>
    <p:sldId id="2134808474" r:id="rId61"/>
    <p:sldId id="2147482339" r:id="rId62"/>
  </p:sldIdLst>
  <p:sldSz cx="13716000" cy="10287000"/>
  <p:notesSz cx="6858000" cy="9144000"/>
  <p:embeddedFontLst>
    <p:embeddedFont>
      <p:font typeface="Cambria" panose="02040503050406030204" pitchFamily="18" charset="0"/>
      <p:regular r:id="rId64"/>
      <p:bold r:id="rId65"/>
      <p:italic r:id="rId66"/>
      <p:boldItalic r:id="rId67"/>
    </p:embeddedFont>
    <p:embeddedFont>
      <p:font typeface="Candara" panose="020E0502030303020204" pitchFamily="34" charset="0"/>
      <p:regular r:id="rId68"/>
      <p:bold r:id="rId69"/>
      <p:italic r:id="rId70"/>
      <p:boldItalic r:id="rId71"/>
    </p:embeddedFont>
    <p:embeddedFont>
      <p:font typeface="Carelia" panose="020B0604020202020204" charset="0"/>
      <p:regular r:id="rId72"/>
    </p:embeddedFont>
    <p:embeddedFont>
      <p:font typeface="Dosis" pitchFamily="2" charset="0"/>
      <p:regular r:id="rId73"/>
      <p:bold r:id="rId74"/>
    </p:embeddedFont>
    <p:embeddedFont>
      <p:font typeface="Dosis Bold" charset="0"/>
      <p:regular r:id="rId75"/>
      <p:bold r:id="rId76"/>
    </p:embeddedFont>
    <p:embeddedFont>
      <p:font typeface="KG Primary Penmanship 2" panose="020B0604020202020204" charset="0"/>
      <p:regular r:id="rId77"/>
    </p:embeddedFont>
    <p:embeddedFont>
      <p:font typeface="Montserrat" panose="00000500000000000000" pitchFamily="2" charset="0"/>
      <p:regular r:id="rId78"/>
      <p:bold r:id="rId79"/>
      <p:italic r:id="rId80"/>
      <p:boldItalic r:id="rId81"/>
    </p:embeddedFont>
    <p:embeddedFont>
      <p:font typeface="Traditional Arabic" panose="02020603050405020304" pitchFamily="18" charset="-78"/>
      <p:regular r:id="rId82"/>
      <p:bold r:id="rId83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942C"/>
    <a:srgbClr val="106584"/>
    <a:srgbClr val="7F7F7F"/>
    <a:srgbClr val="F2F2F2"/>
    <a:srgbClr val="8DC63F"/>
    <a:srgbClr val="525252"/>
    <a:srgbClr val="F7F1BD"/>
    <a:srgbClr val="106585"/>
    <a:srgbClr val="426C7C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10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1411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notesMaster" Target="notesMasters/notesMaster1.xml"/><Relationship Id="rId68" Type="http://schemas.openxmlformats.org/officeDocument/2006/relationships/font" Target="fonts/font5.fntdata"/><Relationship Id="rId84" Type="http://schemas.openxmlformats.org/officeDocument/2006/relationships/presProps" Target="presProps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font" Target="fonts/font11.fntdata"/><Relationship Id="rId79" Type="http://schemas.openxmlformats.org/officeDocument/2006/relationships/font" Target="fonts/font16.fntdata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font" Target="fonts/font1.fntdata"/><Relationship Id="rId69" Type="http://schemas.openxmlformats.org/officeDocument/2006/relationships/font" Target="fonts/font6.fntdata"/><Relationship Id="rId77" Type="http://schemas.openxmlformats.org/officeDocument/2006/relationships/font" Target="fonts/font14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font" Target="fonts/font9.fntdata"/><Relationship Id="rId80" Type="http://schemas.openxmlformats.org/officeDocument/2006/relationships/font" Target="fonts/font17.fntdata"/><Relationship Id="rId85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font" Target="fonts/font4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font" Target="fonts/font7.fntdata"/><Relationship Id="rId75" Type="http://schemas.openxmlformats.org/officeDocument/2006/relationships/font" Target="fonts/font12.fntdata"/><Relationship Id="rId83" Type="http://schemas.openxmlformats.org/officeDocument/2006/relationships/font" Target="fonts/font2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font" Target="fonts/font2.fntdata"/><Relationship Id="rId73" Type="http://schemas.openxmlformats.org/officeDocument/2006/relationships/font" Target="fonts/font10.fntdata"/><Relationship Id="rId78" Type="http://schemas.openxmlformats.org/officeDocument/2006/relationships/font" Target="fonts/font15.fntdata"/><Relationship Id="rId81" Type="http://schemas.openxmlformats.org/officeDocument/2006/relationships/font" Target="fonts/font18.fntdata"/><Relationship Id="rId86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font" Target="fonts/font13.fntdata"/><Relationship Id="rId7" Type="http://schemas.openxmlformats.org/officeDocument/2006/relationships/slide" Target="slides/slide3.xml"/><Relationship Id="rId71" Type="http://schemas.openxmlformats.org/officeDocument/2006/relationships/font" Target="fonts/font8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font" Target="fonts/font3.fntdata"/><Relationship Id="rId87" Type="http://schemas.openxmlformats.org/officeDocument/2006/relationships/tableStyles" Target="tableStyles.xml"/><Relationship Id="rId61" Type="http://schemas.openxmlformats.org/officeDocument/2006/relationships/slide" Target="slides/slide57.xml"/><Relationship Id="rId82" Type="http://schemas.openxmlformats.org/officeDocument/2006/relationships/font" Target="fonts/font19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19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690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7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7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6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794973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9.sv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10" Type="http://schemas.openxmlformats.org/officeDocument/2006/relationships/tags" Target="../tags/tag11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7.xml"/><Relationship Id="rId10" Type="http://schemas.openxmlformats.org/officeDocument/2006/relationships/image" Target="../media/image8.png"/><Relationship Id="rId4" Type="http://schemas.openxmlformats.org/officeDocument/2006/relationships/tags" Target="../tags/tag106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36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6.svg"/><Relationship Id="rId5" Type="http://schemas.openxmlformats.org/officeDocument/2006/relationships/tags" Target="../tags/tag112.xml"/><Relationship Id="rId10" Type="http://schemas.openxmlformats.org/officeDocument/2006/relationships/image" Target="../media/image15.png"/><Relationship Id="rId4" Type="http://schemas.openxmlformats.org/officeDocument/2006/relationships/tags" Target="../tags/tag111.xml"/><Relationship Id="rId9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image" Target="../media/image16.svg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15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5.jpeg"/><Relationship Id="rId5" Type="http://schemas.openxmlformats.org/officeDocument/2006/relationships/tags" Target="../tags/tag119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6.xml"/><Relationship Id="rId7" Type="http://schemas.openxmlformats.org/officeDocument/2006/relationships/image" Target="../media/image5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8.xml"/><Relationship Id="rId10" Type="http://schemas.openxmlformats.org/officeDocument/2006/relationships/image" Target="../media/image8.png"/><Relationship Id="rId4" Type="http://schemas.openxmlformats.org/officeDocument/2006/relationships/tags" Target="../tags/tag127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6.sv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5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5.jpeg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image" Target="../media/image37.png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image" Target="../media/image16.sv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image" Target="../media/image15.png"/><Relationship Id="rId5" Type="http://schemas.openxmlformats.org/officeDocument/2006/relationships/tags" Target="../tags/tag162.xml"/><Relationship Id="rId15" Type="http://schemas.openxmlformats.org/officeDocument/2006/relationships/image" Target="../media/image39.png"/><Relationship Id="rId10" Type="http://schemas.openxmlformats.org/officeDocument/2006/relationships/image" Target="../media/image5.jpeg"/><Relationship Id="rId4" Type="http://schemas.openxmlformats.org/officeDocument/2006/relationships/tags" Target="../tags/tag161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8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image" Target="../media/image8.png"/><Relationship Id="rId5" Type="http://schemas.openxmlformats.org/officeDocument/2006/relationships/tags" Target="../tags/tag170.xml"/><Relationship Id="rId10" Type="http://schemas.openxmlformats.org/officeDocument/2006/relationships/image" Target="../media/image7.svg"/><Relationship Id="rId4" Type="http://schemas.openxmlformats.org/officeDocument/2006/relationships/tags" Target="../tags/tag169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image" Target="../media/image29.svg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image" Target="../media/image15.png"/><Relationship Id="rId2" Type="http://schemas.openxmlformats.org/officeDocument/2006/relationships/tags" Target="../tags/tag173.xml"/><Relationship Id="rId16" Type="http://schemas.openxmlformats.org/officeDocument/2006/relationships/image" Target="../media/image42.png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image" Target="../media/image5.jpeg"/><Relationship Id="rId5" Type="http://schemas.openxmlformats.org/officeDocument/2006/relationships/tags" Target="../tags/tag176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29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43.png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5.png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17" Type="http://schemas.openxmlformats.org/officeDocument/2006/relationships/image" Target="../media/image44.png"/><Relationship Id="rId2" Type="http://schemas.openxmlformats.org/officeDocument/2006/relationships/tags" Target="../tags/tag185.xml"/><Relationship Id="rId16" Type="http://schemas.openxmlformats.org/officeDocument/2006/relationships/image" Target="../media/image23.png"/><Relationship Id="rId20" Type="http://schemas.openxmlformats.org/officeDocument/2006/relationships/image" Target="../media/image47.png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5" Type="http://schemas.openxmlformats.org/officeDocument/2006/relationships/image" Target="../media/image19.svg"/><Relationship Id="rId10" Type="http://schemas.openxmlformats.org/officeDocument/2006/relationships/tags" Target="../tags/tag193.xml"/><Relationship Id="rId19" Type="http://schemas.openxmlformats.org/officeDocument/2006/relationships/image" Target="../media/image46.png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7.svg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6.png"/><Relationship Id="rId5" Type="http://schemas.openxmlformats.org/officeDocument/2006/relationships/tags" Target="../tags/tag18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9.png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tags" Target="../tags/tag207.xml"/><Relationship Id="rId17" Type="http://schemas.openxmlformats.org/officeDocument/2006/relationships/image" Target="../media/image48.png"/><Relationship Id="rId2" Type="http://schemas.openxmlformats.org/officeDocument/2006/relationships/tags" Target="../tags/tag197.xml"/><Relationship Id="rId16" Type="http://schemas.openxmlformats.org/officeDocument/2006/relationships/image" Target="../media/image23.png"/><Relationship Id="rId20" Type="http://schemas.openxmlformats.org/officeDocument/2006/relationships/image" Target="../media/image51.png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11" Type="http://schemas.openxmlformats.org/officeDocument/2006/relationships/tags" Target="../tags/tag206.xml"/><Relationship Id="rId5" Type="http://schemas.openxmlformats.org/officeDocument/2006/relationships/tags" Target="../tags/tag200.xml"/><Relationship Id="rId15" Type="http://schemas.openxmlformats.org/officeDocument/2006/relationships/image" Target="../media/image19.svg"/><Relationship Id="rId10" Type="http://schemas.openxmlformats.org/officeDocument/2006/relationships/tags" Target="../tags/tag205.xml"/><Relationship Id="rId19" Type="http://schemas.openxmlformats.org/officeDocument/2006/relationships/image" Target="../media/image50.png"/><Relationship Id="rId4" Type="http://schemas.openxmlformats.org/officeDocument/2006/relationships/tags" Target="../tags/tag199.xml"/><Relationship Id="rId9" Type="http://schemas.openxmlformats.org/officeDocument/2006/relationships/tags" Target="../tags/tag204.xml"/><Relationship Id="rId1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18.pn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209.xml"/><Relationship Id="rId16" Type="http://schemas.openxmlformats.org/officeDocument/2006/relationships/image" Target="../media/image52.png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5" Type="http://schemas.openxmlformats.org/officeDocument/2006/relationships/tags" Target="../tags/tag212.xml"/><Relationship Id="rId15" Type="http://schemas.openxmlformats.org/officeDocument/2006/relationships/image" Target="../media/image23.png"/><Relationship Id="rId10" Type="http://schemas.openxmlformats.org/officeDocument/2006/relationships/tags" Target="../tags/tag217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image" Target="../media/image19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image" Target="../media/image44.png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image" Target="../media/image27.png"/><Relationship Id="rId2" Type="http://schemas.openxmlformats.org/officeDocument/2006/relationships/tags" Target="../tags/tag220.xml"/><Relationship Id="rId16" Type="http://schemas.openxmlformats.org/officeDocument/2006/relationships/image" Target="../media/image47.png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image" Target="../media/image19.svg"/><Relationship Id="rId5" Type="http://schemas.openxmlformats.org/officeDocument/2006/relationships/tags" Target="../tags/tag223.xml"/><Relationship Id="rId15" Type="http://schemas.openxmlformats.org/officeDocument/2006/relationships/image" Target="../media/image46.png"/><Relationship Id="rId10" Type="http://schemas.openxmlformats.org/officeDocument/2006/relationships/image" Target="../media/image18.png"/><Relationship Id="rId4" Type="http://schemas.openxmlformats.org/officeDocument/2006/relationships/tags" Target="../tags/tag222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image" Target="../media/image44.png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27.png"/><Relationship Id="rId2" Type="http://schemas.openxmlformats.org/officeDocument/2006/relationships/tags" Target="../tags/tag228.xml"/><Relationship Id="rId16" Type="http://schemas.openxmlformats.org/officeDocument/2006/relationships/image" Target="../media/image47.png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image" Target="../media/image19.svg"/><Relationship Id="rId5" Type="http://schemas.openxmlformats.org/officeDocument/2006/relationships/tags" Target="../tags/tag231.xml"/><Relationship Id="rId15" Type="http://schemas.openxmlformats.org/officeDocument/2006/relationships/image" Target="../media/image46.png"/><Relationship Id="rId10" Type="http://schemas.openxmlformats.org/officeDocument/2006/relationships/image" Target="../media/image18.png"/><Relationship Id="rId4" Type="http://schemas.openxmlformats.org/officeDocument/2006/relationships/tags" Target="../tags/tag230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13" Type="http://schemas.openxmlformats.org/officeDocument/2006/relationships/image" Target="../media/image19.svg"/><Relationship Id="rId18" Type="http://schemas.openxmlformats.org/officeDocument/2006/relationships/image" Target="../media/image47.png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12" Type="http://schemas.openxmlformats.org/officeDocument/2006/relationships/image" Target="../media/image18.png"/><Relationship Id="rId17" Type="http://schemas.openxmlformats.org/officeDocument/2006/relationships/image" Target="../media/image46.png"/><Relationship Id="rId2" Type="http://schemas.openxmlformats.org/officeDocument/2006/relationships/tags" Target="../tags/tag236.xml"/><Relationship Id="rId16" Type="http://schemas.openxmlformats.org/officeDocument/2006/relationships/image" Target="../media/image45.png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39.xml"/><Relationship Id="rId15" Type="http://schemas.openxmlformats.org/officeDocument/2006/relationships/image" Target="../media/image44.png"/><Relationship Id="rId10" Type="http://schemas.openxmlformats.org/officeDocument/2006/relationships/tags" Target="../tags/tag244.xml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47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image" Target="../media/image27.png"/><Relationship Id="rId5" Type="http://schemas.openxmlformats.org/officeDocument/2006/relationships/tags" Target="../tags/tag249.xml"/><Relationship Id="rId10" Type="http://schemas.openxmlformats.org/officeDocument/2006/relationships/image" Target="../media/image23.png"/><Relationship Id="rId4" Type="http://schemas.openxmlformats.org/officeDocument/2006/relationships/tags" Target="../tags/tag248.xml"/><Relationship Id="rId9" Type="http://schemas.openxmlformats.org/officeDocument/2006/relationships/image" Target="../media/image19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13" Type="http://schemas.openxmlformats.org/officeDocument/2006/relationships/image" Target="../media/image48.png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12" Type="http://schemas.openxmlformats.org/officeDocument/2006/relationships/image" Target="../media/image27.png"/><Relationship Id="rId2" Type="http://schemas.openxmlformats.org/officeDocument/2006/relationships/tags" Target="../tags/tag252.xml"/><Relationship Id="rId16" Type="http://schemas.openxmlformats.org/officeDocument/2006/relationships/image" Target="../media/image51.png"/><Relationship Id="rId1" Type="http://schemas.openxmlformats.org/officeDocument/2006/relationships/tags" Target="../tags/tag251.xml"/><Relationship Id="rId6" Type="http://schemas.openxmlformats.org/officeDocument/2006/relationships/tags" Target="../tags/tag256.xml"/><Relationship Id="rId11" Type="http://schemas.openxmlformats.org/officeDocument/2006/relationships/image" Target="../media/image19.svg"/><Relationship Id="rId5" Type="http://schemas.openxmlformats.org/officeDocument/2006/relationships/tags" Target="../tags/tag255.xml"/><Relationship Id="rId15" Type="http://schemas.openxmlformats.org/officeDocument/2006/relationships/image" Target="../media/image50.png"/><Relationship Id="rId10" Type="http://schemas.openxmlformats.org/officeDocument/2006/relationships/image" Target="../media/image18.png"/><Relationship Id="rId4" Type="http://schemas.openxmlformats.org/officeDocument/2006/relationships/tags" Target="../tags/tag254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image" Target="../media/image48.png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12" Type="http://schemas.openxmlformats.org/officeDocument/2006/relationships/image" Target="../media/image23.png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1" Type="http://schemas.openxmlformats.org/officeDocument/2006/relationships/image" Target="../media/image19.svg"/><Relationship Id="rId5" Type="http://schemas.openxmlformats.org/officeDocument/2006/relationships/tags" Target="../tags/tag263.xml"/><Relationship Id="rId15" Type="http://schemas.openxmlformats.org/officeDocument/2006/relationships/image" Target="../media/image51.png"/><Relationship Id="rId10" Type="http://schemas.openxmlformats.org/officeDocument/2006/relationships/image" Target="../media/image18.png"/><Relationship Id="rId4" Type="http://schemas.openxmlformats.org/officeDocument/2006/relationships/tags" Target="../tags/tag262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13" Type="http://schemas.openxmlformats.org/officeDocument/2006/relationships/image" Target="../media/image23.png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image" Target="../media/image19.svg"/><Relationship Id="rId17" Type="http://schemas.openxmlformats.org/officeDocument/2006/relationships/image" Target="../media/image51.png"/><Relationship Id="rId2" Type="http://schemas.openxmlformats.org/officeDocument/2006/relationships/tags" Target="../tags/tag268.xml"/><Relationship Id="rId16" Type="http://schemas.openxmlformats.org/officeDocument/2006/relationships/image" Target="../media/image50.png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11" Type="http://schemas.openxmlformats.org/officeDocument/2006/relationships/image" Target="../media/image18.png"/><Relationship Id="rId5" Type="http://schemas.openxmlformats.org/officeDocument/2006/relationships/tags" Target="../tags/tag271.xml"/><Relationship Id="rId15" Type="http://schemas.openxmlformats.org/officeDocument/2006/relationships/image" Target="../media/image49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270.xml"/><Relationship Id="rId9" Type="http://schemas.openxmlformats.org/officeDocument/2006/relationships/tags" Target="../tags/tag275.xml"/><Relationship Id="rId1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image" Target="../media/image46.png"/><Relationship Id="rId3" Type="http://schemas.openxmlformats.org/officeDocument/2006/relationships/tags" Target="../tags/tag278.xml"/><Relationship Id="rId7" Type="http://schemas.openxmlformats.org/officeDocument/2006/relationships/tags" Target="../tags/tag282.xml"/><Relationship Id="rId12" Type="http://schemas.openxmlformats.org/officeDocument/2006/relationships/image" Target="../media/image24.png"/><Relationship Id="rId2" Type="http://schemas.openxmlformats.org/officeDocument/2006/relationships/tags" Target="../tags/tag277.xml"/><Relationship Id="rId16" Type="http://schemas.openxmlformats.org/officeDocument/2006/relationships/image" Target="../media/image51.png"/><Relationship Id="rId1" Type="http://schemas.openxmlformats.org/officeDocument/2006/relationships/tags" Target="../tags/tag276.xml"/><Relationship Id="rId6" Type="http://schemas.openxmlformats.org/officeDocument/2006/relationships/tags" Target="../tags/tag281.xml"/><Relationship Id="rId11" Type="http://schemas.openxmlformats.org/officeDocument/2006/relationships/image" Target="../media/image19.svg"/><Relationship Id="rId5" Type="http://schemas.openxmlformats.org/officeDocument/2006/relationships/tags" Target="../tags/tag280.xml"/><Relationship Id="rId15" Type="http://schemas.openxmlformats.org/officeDocument/2006/relationships/image" Target="../media/image50.png"/><Relationship Id="rId10" Type="http://schemas.openxmlformats.org/officeDocument/2006/relationships/image" Target="../media/image18.png"/><Relationship Id="rId4" Type="http://schemas.openxmlformats.org/officeDocument/2006/relationships/tags" Target="../tags/tag279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image" Target="../media/image44.png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image" Target="../media/image24.png"/><Relationship Id="rId2" Type="http://schemas.openxmlformats.org/officeDocument/2006/relationships/tags" Target="../tags/tag285.xml"/><Relationship Id="rId16" Type="http://schemas.openxmlformats.org/officeDocument/2006/relationships/image" Target="../media/image49.png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image" Target="../media/image19.svg"/><Relationship Id="rId5" Type="http://schemas.openxmlformats.org/officeDocument/2006/relationships/tags" Target="../tags/tag288.xml"/><Relationship Id="rId15" Type="http://schemas.openxmlformats.org/officeDocument/2006/relationships/image" Target="../media/image48.png"/><Relationship Id="rId10" Type="http://schemas.openxmlformats.org/officeDocument/2006/relationships/image" Target="../media/image18.png"/><Relationship Id="rId4" Type="http://schemas.openxmlformats.org/officeDocument/2006/relationships/tags" Target="../tags/tag28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54.png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image" Target="../media/image53.png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11" Type="http://schemas.openxmlformats.org/officeDocument/2006/relationships/image" Target="../media/image24.png"/><Relationship Id="rId5" Type="http://schemas.openxmlformats.org/officeDocument/2006/relationships/tags" Target="../tags/tag296.xml"/><Relationship Id="rId10" Type="http://schemas.openxmlformats.org/officeDocument/2006/relationships/image" Target="../media/image19.svg"/><Relationship Id="rId4" Type="http://schemas.openxmlformats.org/officeDocument/2006/relationships/tags" Target="../tags/tag295.xml"/><Relationship Id="rId9" Type="http://schemas.openxmlformats.org/officeDocument/2006/relationships/image" Target="../media/image18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01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tags" Target="../tags/tag304.xml"/><Relationship Id="rId11" Type="http://schemas.openxmlformats.org/officeDocument/2006/relationships/image" Target="../media/image8.png"/><Relationship Id="rId5" Type="http://schemas.openxmlformats.org/officeDocument/2006/relationships/tags" Target="../tags/tag303.xml"/><Relationship Id="rId10" Type="http://schemas.openxmlformats.org/officeDocument/2006/relationships/image" Target="../media/image7.svg"/><Relationship Id="rId4" Type="http://schemas.openxmlformats.org/officeDocument/2006/relationships/tags" Target="../tags/tag302.xml"/><Relationship Id="rId9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image" Target="../media/image29.svg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12" Type="http://schemas.openxmlformats.org/officeDocument/2006/relationships/image" Target="../media/image15.png"/><Relationship Id="rId2" Type="http://schemas.openxmlformats.org/officeDocument/2006/relationships/tags" Target="../tags/tag306.xml"/><Relationship Id="rId16" Type="http://schemas.openxmlformats.org/officeDocument/2006/relationships/image" Target="../media/image42.png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image" Target="../media/image5.jpeg"/><Relationship Id="rId5" Type="http://schemas.openxmlformats.org/officeDocument/2006/relationships/tags" Target="../tags/tag309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image" Target="../media/image40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57.png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tags" Target="../tags/tag325.xml"/><Relationship Id="rId17" Type="http://schemas.openxmlformats.org/officeDocument/2006/relationships/image" Target="../media/image56.PNG"/><Relationship Id="rId2" Type="http://schemas.openxmlformats.org/officeDocument/2006/relationships/tags" Target="../tags/tag315.xml"/><Relationship Id="rId16" Type="http://schemas.openxmlformats.org/officeDocument/2006/relationships/image" Target="../media/image55.png"/><Relationship Id="rId1" Type="http://schemas.openxmlformats.org/officeDocument/2006/relationships/tags" Target="../tags/tag314.xml"/><Relationship Id="rId6" Type="http://schemas.openxmlformats.org/officeDocument/2006/relationships/tags" Target="../tags/tag319.xml"/><Relationship Id="rId11" Type="http://schemas.openxmlformats.org/officeDocument/2006/relationships/tags" Target="../tags/tag324.xml"/><Relationship Id="rId5" Type="http://schemas.openxmlformats.org/officeDocument/2006/relationships/tags" Target="../tags/tag318.xml"/><Relationship Id="rId15" Type="http://schemas.openxmlformats.org/officeDocument/2006/relationships/image" Target="../media/image19.svg"/><Relationship Id="rId10" Type="http://schemas.openxmlformats.org/officeDocument/2006/relationships/tags" Target="../tags/tag323.xml"/><Relationship Id="rId4" Type="http://schemas.openxmlformats.org/officeDocument/2006/relationships/tags" Target="../tags/tag317.xml"/><Relationship Id="rId9" Type="http://schemas.openxmlformats.org/officeDocument/2006/relationships/tags" Target="../tags/tag322.xml"/><Relationship Id="rId14" Type="http://schemas.openxmlformats.org/officeDocument/2006/relationships/image" Target="../media/image18.png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media" Target="../media/media1.wav"/><Relationship Id="rId13" Type="http://schemas.openxmlformats.org/officeDocument/2006/relationships/tags" Target="../tags/tag336.xml"/><Relationship Id="rId18" Type="http://schemas.openxmlformats.org/officeDocument/2006/relationships/image" Target="../media/image55.png"/><Relationship Id="rId3" Type="http://schemas.openxmlformats.org/officeDocument/2006/relationships/tags" Target="../tags/tag328.xml"/><Relationship Id="rId21" Type="http://schemas.openxmlformats.org/officeDocument/2006/relationships/image" Target="../media/image58.png"/><Relationship Id="rId7" Type="http://schemas.openxmlformats.org/officeDocument/2006/relationships/tags" Target="../tags/tag332.xml"/><Relationship Id="rId12" Type="http://schemas.openxmlformats.org/officeDocument/2006/relationships/tags" Target="../tags/tag335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327.xml"/><Relationship Id="rId16" Type="http://schemas.openxmlformats.org/officeDocument/2006/relationships/tags" Target="../tags/tag339.xml"/><Relationship Id="rId20" Type="http://schemas.openxmlformats.org/officeDocument/2006/relationships/image" Target="../media/image57.png"/><Relationship Id="rId1" Type="http://schemas.openxmlformats.org/officeDocument/2006/relationships/tags" Target="../tags/tag326.xml"/><Relationship Id="rId6" Type="http://schemas.openxmlformats.org/officeDocument/2006/relationships/tags" Target="../tags/tag331.xml"/><Relationship Id="rId11" Type="http://schemas.openxmlformats.org/officeDocument/2006/relationships/tags" Target="../tags/tag334.xml"/><Relationship Id="rId5" Type="http://schemas.openxmlformats.org/officeDocument/2006/relationships/tags" Target="../tags/tag330.xml"/><Relationship Id="rId15" Type="http://schemas.openxmlformats.org/officeDocument/2006/relationships/tags" Target="../tags/tag338.xml"/><Relationship Id="rId10" Type="http://schemas.openxmlformats.org/officeDocument/2006/relationships/tags" Target="../tags/tag333.xml"/><Relationship Id="rId19" Type="http://schemas.openxmlformats.org/officeDocument/2006/relationships/image" Target="../media/image56.PNG"/><Relationship Id="rId4" Type="http://schemas.openxmlformats.org/officeDocument/2006/relationships/tags" Target="../tags/tag329.xml"/><Relationship Id="rId9" Type="http://schemas.openxmlformats.org/officeDocument/2006/relationships/audio" Target="../media/media1.wav"/><Relationship Id="rId14" Type="http://schemas.openxmlformats.org/officeDocument/2006/relationships/tags" Target="../tags/tag33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42.xml"/><Relationship Id="rId7" Type="http://schemas.openxmlformats.org/officeDocument/2006/relationships/image" Target="../media/image18.png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44.xml"/><Relationship Id="rId10" Type="http://schemas.openxmlformats.org/officeDocument/2006/relationships/image" Target="../media/image55.png"/><Relationship Id="rId4" Type="http://schemas.openxmlformats.org/officeDocument/2006/relationships/tags" Target="../tags/tag343.xml"/><Relationship Id="rId9" Type="http://schemas.openxmlformats.org/officeDocument/2006/relationships/image" Target="../media/image59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13" Type="http://schemas.openxmlformats.org/officeDocument/2006/relationships/image" Target="../media/image59.png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image" Target="../media/image19.svg"/><Relationship Id="rId2" Type="http://schemas.openxmlformats.org/officeDocument/2006/relationships/tags" Target="../tags/tag346.xml"/><Relationship Id="rId16" Type="http://schemas.openxmlformats.org/officeDocument/2006/relationships/image" Target="../media/image62.png"/><Relationship Id="rId1" Type="http://schemas.openxmlformats.org/officeDocument/2006/relationships/tags" Target="../tags/tag345.xml"/><Relationship Id="rId6" Type="http://schemas.openxmlformats.org/officeDocument/2006/relationships/tags" Target="../tags/tag350.xml"/><Relationship Id="rId11" Type="http://schemas.openxmlformats.org/officeDocument/2006/relationships/image" Target="../media/image18.png"/><Relationship Id="rId5" Type="http://schemas.openxmlformats.org/officeDocument/2006/relationships/tags" Target="../tags/tag349.xml"/><Relationship Id="rId15" Type="http://schemas.openxmlformats.org/officeDocument/2006/relationships/image" Target="../media/image61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348.xml"/><Relationship Id="rId9" Type="http://schemas.openxmlformats.org/officeDocument/2006/relationships/tags" Target="../tags/tag353.xml"/><Relationship Id="rId14" Type="http://schemas.openxmlformats.org/officeDocument/2006/relationships/image" Target="../media/image60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56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11" Type="http://schemas.openxmlformats.org/officeDocument/2006/relationships/image" Target="../media/image8.png"/><Relationship Id="rId5" Type="http://schemas.openxmlformats.org/officeDocument/2006/relationships/tags" Target="../tags/tag358.xml"/><Relationship Id="rId10" Type="http://schemas.openxmlformats.org/officeDocument/2006/relationships/image" Target="../media/image7.svg"/><Relationship Id="rId4" Type="http://schemas.openxmlformats.org/officeDocument/2006/relationships/tags" Target="../tags/tag357.xml"/><Relationship Id="rId9" Type="http://schemas.openxmlformats.org/officeDocument/2006/relationships/image" Target="../media/image6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image" Target="../media/image5.jpeg"/><Relationship Id="rId18" Type="http://schemas.openxmlformats.org/officeDocument/2006/relationships/image" Target="../media/image42.png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41.svg"/><Relationship Id="rId2" Type="http://schemas.openxmlformats.org/officeDocument/2006/relationships/tags" Target="../tags/tag361.xml"/><Relationship Id="rId16" Type="http://schemas.openxmlformats.org/officeDocument/2006/relationships/image" Target="../media/image40.png"/><Relationship Id="rId1" Type="http://schemas.openxmlformats.org/officeDocument/2006/relationships/tags" Target="../tags/tag360.xml"/><Relationship Id="rId6" Type="http://schemas.openxmlformats.org/officeDocument/2006/relationships/tags" Target="../tags/tag365.xml"/><Relationship Id="rId11" Type="http://schemas.openxmlformats.org/officeDocument/2006/relationships/tags" Target="../tags/tag370.xml"/><Relationship Id="rId5" Type="http://schemas.openxmlformats.org/officeDocument/2006/relationships/tags" Target="../tags/tag364.xml"/><Relationship Id="rId15" Type="http://schemas.openxmlformats.org/officeDocument/2006/relationships/image" Target="../media/image29.svg"/><Relationship Id="rId10" Type="http://schemas.openxmlformats.org/officeDocument/2006/relationships/tags" Target="../tags/tag369.xml"/><Relationship Id="rId4" Type="http://schemas.openxmlformats.org/officeDocument/2006/relationships/tags" Target="../tags/tag363.xml"/><Relationship Id="rId9" Type="http://schemas.openxmlformats.org/officeDocument/2006/relationships/tags" Target="../tags/tag368.xml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svg"/><Relationship Id="rId3" Type="http://schemas.openxmlformats.org/officeDocument/2006/relationships/tags" Target="../tags/tag29.xml"/><Relationship Id="rId21" Type="http://schemas.openxmlformats.org/officeDocument/2006/relationships/image" Target="../media/image19.sv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.xml"/><Relationship Id="rId19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73.xml"/><Relationship Id="rId7" Type="http://schemas.openxmlformats.org/officeDocument/2006/relationships/image" Target="../media/image18.png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375.xml"/><Relationship Id="rId4" Type="http://schemas.openxmlformats.org/officeDocument/2006/relationships/tags" Target="../tags/tag374.xml"/><Relationship Id="rId9" Type="http://schemas.openxmlformats.org/officeDocument/2006/relationships/image" Target="../media/image63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78.xml"/><Relationship Id="rId7" Type="http://schemas.openxmlformats.org/officeDocument/2006/relationships/image" Target="../media/image18.png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380.xml"/><Relationship Id="rId4" Type="http://schemas.openxmlformats.org/officeDocument/2006/relationships/tags" Target="../tags/tag379.xml"/><Relationship Id="rId9" Type="http://schemas.openxmlformats.org/officeDocument/2006/relationships/image" Target="../media/image22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3.xml"/><Relationship Id="rId7" Type="http://schemas.openxmlformats.org/officeDocument/2006/relationships/image" Target="../media/image18.png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385.xml"/><Relationship Id="rId4" Type="http://schemas.openxmlformats.org/officeDocument/2006/relationships/tags" Target="../tags/tag384.xml"/><Relationship Id="rId9" Type="http://schemas.openxmlformats.org/officeDocument/2006/relationships/image" Target="../media/image24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8.xml"/><Relationship Id="rId7" Type="http://schemas.openxmlformats.org/officeDocument/2006/relationships/image" Target="../media/image18.png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390.xml"/><Relationship Id="rId4" Type="http://schemas.openxmlformats.org/officeDocument/2006/relationships/tags" Target="../tags/tag389.xml"/><Relationship Id="rId9" Type="http://schemas.openxmlformats.org/officeDocument/2006/relationships/image" Target="../media/image24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image" Target="../media/image55.png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image" Target="../media/image19.sv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11" Type="http://schemas.openxmlformats.org/officeDocument/2006/relationships/image" Target="../media/image18.png"/><Relationship Id="rId5" Type="http://schemas.openxmlformats.org/officeDocument/2006/relationships/tags" Target="../tags/tag395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394.xml"/><Relationship Id="rId9" Type="http://schemas.openxmlformats.org/officeDocument/2006/relationships/tags" Target="../tags/tag399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13" Type="http://schemas.openxmlformats.org/officeDocument/2006/relationships/image" Target="../media/image23.png"/><Relationship Id="rId3" Type="http://schemas.openxmlformats.org/officeDocument/2006/relationships/tags" Target="../tags/tag402.xml"/><Relationship Id="rId7" Type="http://schemas.openxmlformats.org/officeDocument/2006/relationships/tags" Target="../tags/tag406.xml"/><Relationship Id="rId12" Type="http://schemas.openxmlformats.org/officeDocument/2006/relationships/image" Target="../media/image19.svg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tags" Target="../tags/tag405.xml"/><Relationship Id="rId11" Type="http://schemas.openxmlformats.org/officeDocument/2006/relationships/image" Target="../media/image18.png"/><Relationship Id="rId5" Type="http://schemas.openxmlformats.org/officeDocument/2006/relationships/tags" Target="../tags/tag404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03.xml"/><Relationship Id="rId9" Type="http://schemas.openxmlformats.org/officeDocument/2006/relationships/tags" Target="../tags/tag408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11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410.xml"/><Relationship Id="rId1" Type="http://schemas.openxmlformats.org/officeDocument/2006/relationships/tags" Target="../tags/tag409.xml"/><Relationship Id="rId6" Type="http://schemas.openxmlformats.org/officeDocument/2006/relationships/tags" Target="../tags/tag414.xml"/><Relationship Id="rId5" Type="http://schemas.openxmlformats.org/officeDocument/2006/relationships/tags" Target="../tags/tag413.xml"/><Relationship Id="rId10" Type="http://schemas.openxmlformats.org/officeDocument/2006/relationships/image" Target="../media/image39.png"/><Relationship Id="rId4" Type="http://schemas.openxmlformats.org/officeDocument/2006/relationships/tags" Target="../tags/tag412.xml"/><Relationship Id="rId9" Type="http://schemas.openxmlformats.org/officeDocument/2006/relationships/image" Target="../media/image19.sv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17.xml"/><Relationship Id="rId7" Type="http://schemas.openxmlformats.org/officeDocument/2006/relationships/image" Target="../media/image18.png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19.xml"/><Relationship Id="rId10" Type="http://schemas.openxmlformats.org/officeDocument/2006/relationships/image" Target="../media/image64.png"/><Relationship Id="rId4" Type="http://schemas.openxmlformats.org/officeDocument/2006/relationships/tags" Target="../tags/tag418.xml"/><Relationship Id="rId9" Type="http://schemas.openxmlformats.org/officeDocument/2006/relationships/image" Target="../media/image23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22.xml"/><Relationship Id="rId7" Type="http://schemas.openxmlformats.org/officeDocument/2006/relationships/image" Target="../media/image18.png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24.xml"/><Relationship Id="rId10" Type="http://schemas.openxmlformats.org/officeDocument/2006/relationships/image" Target="../media/image64.png"/><Relationship Id="rId4" Type="http://schemas.openxmlformats.org/officeDocument/2006/relationships/tags" Target="../tags/tag423.xml"/><Relationship Id="rId9" Type="http://schemas.openxmlformats.org/officeDocument/2006/relationships/image" Target="../media/image65.jpe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427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tags" Target="../tags/tag430.xml"/><Relationship Id="rId11" Type="http://schemas.openxmlformats.org/officeDocument/2006/relationships/image" Target="../media/image8.png"/><Relationship Id="rId5" Type="http://schemas.openxmlformats.org/officeDocument/2006/relationships/tags" Target="../tags/tag429.xml"/><Relationship Id="rId10" Type="http://schemas.openxmlformats.org/officeDocument/2006/relationships/image" Target="../media/image7.svg"/><Relationship Id="rId4" Type="http://schemas.openxmlformats.org/officeDocument/2006/relationships/tags" Target="../tags/tag428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1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2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image" Target="../media/image26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438.xml"/><Relationship Id="rId13" Type="http://schemas.openxmlformats.org/officeDocument/2006/relationships/image" Target="../media/image29.svg"/><Relationship Id="rId3" Type="http://schemas.openxmlformats.org/officeDocument/2006/relationships/tags" Target="../tags/tag433.xml"/><Relationship Id="rId7" Type="http://schemas.openxmlformats.org/officeDocument/2006/relationships/tags" Target="../tags/tag437.xml"/><Relationship Id="rId12" Type="http://schemas.openxmlformats.org/officeDocument/2006/relationships/image" Target="../media/image15.png"/><Relationship Id="rId2" Type="http://schemas.openxmlformats.org/officeDocument/2006/relationships/tags" Target="../tags/tag432.xml"/><Relationship Id="rId16" Type="http://schemas.openxmlformats.org/officeDocument/2006/relationships/image" Target="../media/image42.png"/><Relationship Id="rId1" Type="http://schemas.openxmlformats.org/officeDocument/2006/relationships/tags" Target="../tags/tag431.xml"/><Relationship Id="rId6" Type="http://schemas.openxmlformats.org/officeDocument/2006/relationships/tags" Target="../tags/tag436.xml"/><Relationship Id="rId11" Type="http://schemas.openxmlformats.org/officeDocument/2006/relationships/image" Target="../media/image5.jpeg"/><Relationship Id="rId5" Type="http://schemas.openxmlformats.org/officeDocument/2006/relationships/tags" Target="../tags/tag435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34.xml"/><Relationship Id="rId9" Type="http://schemas.openxmlformats.org/officeDocument/2006/relationships/tags" Target="../tags/tag439.xml"/><Relationship Id="rId14" Type="http://schemas.openxmlformats.org/officeDocument/2006/relationships/image" Target="../media/image40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67.jpeg"/><Relationship Id="rId3" Type="http://schemas.openxmlformats.org/officeDocument/2006/relationships/tags" Target="../tags/tag442.xml"/><Relationship Id="rId7" Type="http://schemas.openxmlformats.org/officeDocument/2006/relationships/tags" Target="../tags/tag446.xml"/><Relationship Id="rId12" Type="http://schemas.openxmlformats.org/officeDocument/2006/relationships/image" Target="../media/image66.png"/><Relationship Id="rId2" Type="http://schemas.openxmlformats.org/officeDocument/2006/relationships/tags" Target="../tags/tag441.xml"/><Relationship Id="rId1" Type="http://schemas.openxmlformats.org/officeDocument/2006/relationships/tags" Target="../tags/tag440.xml"/><Relationship Id="rId6" Type="http://schemas.openxmlformats.org/officeDocument/2006/relationships/tags" Target="../tags/tag445.xml"/><Relationship Id="rId11" Type="http://schemas.openxmlformats.org/officeDocument/2006/relationships/image" Target="../media/image32.png"/><Relationship Id="rId5" Type="http://schemas.openxmlformats.org/officeDocument/2006/relationships/tags" Target="../tags/tag444.xml"/><Relationship Id="rId10" Type="http://schemas.openxmlformats.org/officeDocument/2006/relationships/image" Target="../media/image19.svg"/><Relationship Id="rId4" Type="http://schemas.openxmlformats.org/officeDocument/2006/relationships/tags" Target="../tags/tag443.xml"/><Relationship Id="rId9" Type="http://schemas.openxmlformats.org/officeDocument/2006/relationships/image" Target="../media/image18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49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tags" Target="../tags/tag452.xml"/><Relationship Id="rId11" Type="http://schemas.openxmlformats.org/officeDocument/2006/relationships/image" Target="../media/image38.png"/><Relationship Id="rId5" Type="http://schemas.openxmlformats.org/officeDocument/2006/relationships/tags" Target="../tags/tag451.xml"/><Relationship Id="rId10" Type="http://schemas.openxmlformats.org/officeDocument/2006/relationships/image" Target="../media/image67.jpeg"/><Relationship Id="rId4" Type="http://schemas.openxmlformats.org/officeDocument/2006/relationships/tags" Target="../tags/tag450.xml"/><Relationship Id="rId9" Type="http://schemas.openxmlformats.org/officeDocument/2006/relationships/image" Target="../media/image19.sv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55.xml"/><Relationship Id="rId7" Type="http://schemas.openxmlformats.org/officeDocument/2006/relationships/image" Target="../media/image18.png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69.png"/><Relationship Id="rId5" Type="http://schemas.openxmlformats.org/officeDocument/2006/relationships/tags" Target="../tags/tag457.xml"/><Relationship Id="rId10" Type="http://schemas.microsoft.com/office/2007/relationships/hdphoto" Target="../media/hdphoto1.wdp"/><Relationship Id="rId4" Type="http://schemas.openxmlformats.org/officeDocument/2006/relationships/tags" Target="../tags/tag456.xml"/><Relationship Id="rId9" Type="http://schemas.openxmlformats.org/officeDocument/2006/relationships/image" Target="../media/image68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60.xml"/><Relationship Id="rId7" Type="http://schemas.openxmlformats.org/officeDocument/2006/relationships/image" Target="../media/image18.png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62.xml"/><Relationship Id="rId10" Type="http://schemas.openxmlformats.org/officeDocument/2006/relationships/image" Target="../media/image70.png"/><Relationship Id="rId4" Type="http://schemas.openxmlformats.org/officeDocument/2006/relationships/tags" Target="../tags/tag461.xml"/><Relationship Id="rId9" Type="http://schemas.openxmlformats.org/officeDocument/2006/relationships/image" Target="../media/image26.jpe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468.xml"/><Relationship Id="rId13" Type="http://schemas.openxmlformats.org/officeDocument/2006/relationships/tags" Target="../tags/tag473.xml"/><Relationship Id="rId18" Type="http://schemas.openxmlformats.org/officeDocument/2006/relationships/image" Target="../media/image58.png"/><Relationship Id="rId3" Type="http://schemas.openxmlformats.org/officeDocument/2006/relationships/tags" Target="../tags/tag465.xml"/><Relationship Id="rId7" Type="http://schemas.openxmlformats.org/officeDocument/2006/relationships/audio" Target="../media/media2.mp3"/><Relationship Id="rId12" Type="http://schemas.openxmlformats.org/officeDocument/2006/relationships/tags" Target="../tags/tag472.xml"/><Relationship Id="rId17" Type="http://schemas.openxmlformats.org/officeDocument/2006/relationships/image" Target="../media/image71.gif"/><Relationship Id="rId2" Type="http://schemas.openxmlformats.org/officeDocument/2006/relationships/tags" Target="../tags/tag464.xml"/><Relationship Id="rId16" Type="http://schemas.openxmlformats.org/officeDocument/2006/relationships/image" Target="../media/image19.svg"/><Relationship Id="rId1" Type="http://schemas.openxmlformats.org/officeDocument/2006/relationships/tags" Target="../tags/tag463.xml"/><Relationship Id="rId6" Type="http://schemas.microsoft.com/office/2007/relationships/media" Target="../media/media2.mp3"/><Relationship Id="rId11" Type="http://schemas.openxmlformats.org/officeDocument/2006/relationships/tags" Target="../tags/tag471.xml"/><Relationship Id="rId5" Type="http://schemas.openxmlformats.org/officeDocument/2006/relationships/tags" Target="../tags/tag467.xml"/><Relationship Id="rId15" Type="http://schemas.openxmlformats.org/officeDocument/2006/relationships/image" Target="../media/image18.png"/><Relationship Id="rId10" Type="http://schemas.openxmlformats.org/officeDocument/2006/relationships/tags" Target="../tags/tag470.xml"/><Relationship Id="rId4" Type="http://schemas.openxmlformats.org/officeDocument/2006/relationships/tags" Target="../tags/tag466.xml"/><Relationship Id="rId9" Type="http://schemas.openxmlformats.org/officeDocument/2006/relationships/tags" Target="../tags/tag469.xml"/><Relationship Id="rId14" Type="http://schemas.openxmlformats.org/officeDocument/2006/relationships/slideLayout" Target="../slideLayouts/slideLayout29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481.xml"/><Relationship Id="rId13" Type="http://schemas.openxmlformats.org/officeDocument/2006/relationships/tags" Target="../tags/tag486.xml"/><Relationship Id="rId18" Type="http://schemas.openxmlformats.org/officeDocument/2006/relationships/image" Target="../media/image73.jpeg"/><Relationship Id="rId3" Type="http://schemas.openxmlformats.org/officeDocument/2006/relationships/tags" Target="../tags/tag476.xml"/><Relationship Id="rId21" Type="http://schemas.microsoft.com/office/2007/relationships/hdphoto" Target="../media/hdphoto2.wdp"/><Relationship Id="rId7" Type="http://schemas.openxmlformats.org/officeDocument/2006/relationships/tags" Target="../tags/tag480.xml"/><Relationship Id="rId12" Type="http://schemas.openxmlformats.org/officeDocument/2006/relationships/tags" Target="../tags/tag485.xml"/><Relationship Id="rId17" Type="http://schemas.openxmlformats.org/officeDocument/2006/relationships/image" Target="../media/image72.jpg"/><Relationship Id="rId2" Type="http://schemas.openxmlformats.org/officeDocument/2006/relationships/tags" Target="../tags/tag475.xml"/><Relationship Id="rId16" Type="http://schemas.openxmlformats.org/officeDocument/2006/relationships/image" Target="../media/image19.svg"/><Relationship Id="rId20" Type="http://schemas.openxmlformats.org/officeDocument/2006/relationships/image" Target="../media/image75.png"/><Relationship Id="rId1" Type="http://schemas.openxmlformats.org/officeDocument/2006/relationships/tags" Target="../tags/tag474.xml"/><Relationship Id="rId6" Type="http://schemas.openxmlformats.org/officeDocument/2006/relationships/tags" Target="../tags/tag479.xml"/><Relationship Id="rId11" Type="http://schemas.openxmlformats.org/officeDocument/2006/relationships/tags" Target="../tags/tag484.xml"/><Relationship Id="rId5" Type="http://schemas.openxmlformats.org/officeDocument/2006/relationships/tags" Target="../tags/tag478.xml"/><Relationship Id="rId15" Type="http://schemas.openxmlformats.org/officeDocument/2006/relationships/image" Target="../media/image18.png"/><Relationship Id="rId10" Type="http://schemas.openxmlformats.org/officeDocument/2006/relationships/tags" Target="../tags/tag483.xml"/><Relationship Id="rId19" Type="http://schemas.openxmlformats.org/officeDocument/2006/relationships/image" Target="../media/image74.jpg"/><Relationship Id="rId4" Type="http://schemas.openxmlformats.org/officeDocument/2006/relationships/tags" Target="../tags/tag477.xml"/><Relationship Id="rId9" Type="http://schemas.openxmlformats.org/officeDocument/2006/relationships/tags" Target="../tags/tag482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6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494.xml"/><Relationship Id="rId13" Type="http://schemas.openxmlformats.org/officeDocument/2006/relationships/image" Target="../media/image43.png"/><Relationship Id="rId3" Type="http://schemas.openxmlformats.org/officeDocument/2006/relationships/tags" Target="../tags/tag489.xml"/><Relationship Id="rId7" Type="http://schemas.openxmlformats.org/officeDocument/2006/relationships/tags" Target="../tags/tag493.xml"/><Relationship Id="rId12" Type="http://schemas.openxmlformats.org/officeDocument/2006/relationships/image" Target="../media/image19.svg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tags" Target="../tags/tag492.xml"/><Relationship Id="rId11" Type="http://schemas.openxmlformats.org/officeDocument/2006/relationships/image" Target="../media/image18.png"/><Relationship Id="rId5" Type="http://schemas.openxmlformats.org/officeDocument/2006/relationships/tags" Target="../tags/tag491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90.xml"/><Relationship Id="rId9" Type="http://schemas.openxmlformats.org/officeDocument/2006/relationships/tags" Target="../tags/tag495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503.xml"/><Relationship Id="rId13" Type="http://schemas.openxmlformats.org/officeDocument/2006/relationships/image" Target="../media/image3.emf"/><Relationship Id="rId3" Type="http://schemas.openxmlformats.org/officeDocument/2006/relationships/tags" Target="../tags/tag498.xml"/><Relationship Id="rId7" Type="http://schemas.openxmlformats.org/officeDocument/2006/relationships/tags" Target="../tags/tag502.xml"/><Relationship Id="rId12" Type="http://schemas.openxmlformats.org/officeDocument/2006/relationships/oleObject" Target="../embeddings/oleObject2.bin"/><Relationship Id="rId2" Type="http://schemas.openxmlformats.org/officeDocument/2006/relationships/tags" Target="../tags/tag497.xml"/><Relationship Id="rId1" Type="http://schemas.openxmlformats.org/officeDocument/2006/relationships/tags" Target="../tags/tag496.xml"/><Relationship Id="rId6" Type="http://schemas.openxmlformats.org/officeDocument/2006/relationships/tags" Target="../tags/tag501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500.xml"/><Relationship Id="rId15" Type="http://schemas.openxmlformats.org/officeDocument/2006/relationships/image" Target="../media/image77.png"/><Relationship Id="rId10" Type="http://schemas.openxmlformats.org/officeDocument/2006/relationships/slideLayout" Target="../slideLayouts/slideLayout34.xml"/><Relationship Id="rId4" Type="http://schemas.openxmlformats.org/officeDocument/2006/relationships/tags" Target="../tags/tag499.xml"/><Relationship Id="rId9" Type="http://schemas.openxmlformats.org/officeDocument/2006/relationships/tags" Target="../tags/tag504.xml"/><Relationship Id="rId14" Type="http://schemas.openxmlformats.org/officeDocument/2006/relationships/hyperlink" Target="https://docs.google.com/forms/d/e/1FAIpQLSeGbEh4eCfj0ri_aqOht0VG2q1xZDER-dmv6wFZwOP759wbuA/formResponse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13.png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9.sv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32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3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9.svg"/><Relationship Id="rId5" Type="http://schemas.openxmlformats.org/officeDocument/2006/relationships/tags" Target="../tags/tag87.xml"/><Relationship Id="rId10" Type="http://schemas.openxmlformats.org/officeDocument/2006/relationships/image" Target="../media/image15.png"/><Relationship Id="rId4" Type="http://schemas.openxmlformats.org/officeDocument/2006/relationships/tags" Target="../tags/tag86.xml"/><Relationship Id="rId9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2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4.xml"/><Relationship Id="rId10" Type="http://schemas.openxmlformats.org/officeDocument/2006/relationships/image" Target="../media/image8.png"/><Relationship Id="rId4" Type="http://schemas.openxmlformats.org/officeDocument/2006/relationships/tags" Target="../tags/tag93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29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15.png"/><Relationship Id="rId5" Type="http://schemas.openxmlformats.org/officeDocument/2006/relationships/tags" Target="../tags/tag99.xml"/><Relationship Id="rId10" Type="http://schemas.openxmlformats.org/officeDocument/2006/relationships/image" Target="../media/image5.jpeg"/><Relationship Id="rId4" Type="http://schemas.openxmlformats.org/officeDocument/2006/relationships/tags" Target="../tags/tag98.xml"/><Relationship Id="rId9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3 - Séance </a:t>
            </a:r>
            <a:r>
              <a:rPr lang="fr-FR" sz="4001" b="1" dirty="0">
                <a:solidFill>
                  <a:prstClr val="white"/>
                </a:solidFill>
                <a:latin typeface="Dosis Bold"/>
              </a:rPr>
              <a:t>6</a:t>
            </a:r>
            <a:endParaRPr lang="en-US" sz="4001" b="1" dirty="0">
              <a:solidFill>
                <a:prstClr val="white"/>
              </a:solidFill>
              <a:latin typeface="Dosis Bold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17E0C8-16BE-B035-04C3-D705EA2163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695536" y="8574280"/>
            <a:ext cx="3225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spcAft>
                <a:spcPts val="1800"/>
              </a:spcAft>
            </a:pPr>
            <a:r>
              <a:rPr lang="fr-FR" sz="2400" b="1" i="1">
                <a:solidFill>
                  <a:prstClr val="white">
                    <a:lumMod val="50000"/>
                  </a:prstClr>
                </a:solidFill>
                <a:latin typeface="Calibri"/>
              </a:rPr>
              <a:t>  </a:t>
            </a:r>
            <a:endParaRPr lang="fr-FR" sz="2400" i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58911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9635269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08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51812"/>
            <a:ext cx="12954000" cy="9592689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1  :  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2 :  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3 : 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4 :  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1926220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8303455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ctr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1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64116"/>
            <a:ext cx="518160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Vocabulair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oute active du dialogue</a:t>
            </a:r>
            <a:endParaRPr lang="fr-FR" sz="21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2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MA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4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5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ppropriation de l'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  <a:endParaRPr lang="fr-MA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67942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67942C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858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6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3026"/>
              </a:lnSpc>
              <a:defRPr/>
            </a:pPr>
            <a:r>
              <a:rPr lang="en-US" sz="2801" dirty="0">
                <a:solidFill>
                  <a:srgbClr val="8DC63F"/>
                </a:solidFill>
                <a:latin typeface="Dosis" pitchFamily="2" charset="0"/>
              </a:rPr>
              <a:t>   </a:t>
            </a: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3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5051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3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0E2742FA-FC82-4B13-5DA2-4733DA9A7D3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970222" y="2954889"/>
            <a:ext cx="3795089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DD2706B-5186-17D0-E439-1AC0E8EABC4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8950689" y="2950043"/>
            <a:ext cx="3787468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E9A26F7-DF69-EBB3-AD41-D3571A65E5E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4964266" y="2950043"/>
            <a:ext cx="3787468" cy="53420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752267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579416-636B-6616-8E5B-0515290CDE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DD11EFE-0F3F-AE4E-8437-A08A8B24DBD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C9666BC3-22D0-E365-3C2B-3ED5051312D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74BE23AA-62AD-F975-30AB-3B23DCCF01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C06BED5A-34F8-562C-C40A-EBE932FB95A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1" y="1260912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CD5204-D7FB-A575-6BD3-BED96735AAB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-17842" y="3793435"/>
            <a:ext cx="13716000" cy="38010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indent="3043238" defTabSz="914400">
              <a:spcAft>
                <a:spcPts val="3000"/>
              </a:spcAft>
              <a:defRPr/>
            </a:pPr>
            <a:r>
              <a:rPr lang="fr-FR" sz="4800" b="1" dirty="0">
                <a:solidFill>
                  <a:srgbClr val="106585"/>
                </a:solidFill>
                <a:latin typeface="Dosis" pitchFamily="2" charset="0"/>
                <a:cs typeface="Calibri" panose="020F0502020204030204" pitchFamily="34" charset="0"/>
              </a:rPr>
              <a:t>Activité 1. Vocabulaire </a:t>
            </a:r>
          </a:p>
          <a:p>
            <a:pPr marR="0" lvl="0" indent="3043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2. Participer à un dialogu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3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Lec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4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3217C1A-EFE4-921E-D79E-32F7945FAC8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88820" y="3877171"/>
            <a:ext cx="1497114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749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2529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 l’activité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626784" y="4806326"/>
            <a:ext cx="9518986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Réviser </a:t>
            </a: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mots de vocabulaire de la semaine.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755974" y="4739422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3791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B84789-ED0B-0869-940E-0E8EC53A23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348725A-CB40-ABEC-1BE2-1056E755505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576BF1A-7EF6-8E4E-80BE-FB4C1A1296E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3B16AE5-1A4B-EED4-1835-5C0C2797344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337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31F63-E693-FC5E-0DF9-875623507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B01776C-C876-8166-BE99-D62DC41F50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5EC3415-D08E-9718-CF35-528745A317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Nous avons déjà vu ces mots. 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7AA1FA7-1AFA-DAF9-E766-5B558206505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53E6AA49-E62B-1DFA-B8F0-D831190DA66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11533B8F-252B-6599-4A07-0CB14A60A7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81823" y="6221259"/>
            <a:ext cx="2596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ferme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B23E01B-B846-949B-185F-66965447225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89980" y="6221258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ouvri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C5A7AA5-37A0-31D8-A3B6-D259CFA606F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938143" y="6221257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archer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B5C6DC6-4726-BA57-502A-9C816198314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40214" y="6214294"/>
            <a:ext cx="23850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couri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AC56C5C-AAFA-FC8D-357F-6B774BC3AB6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4252526" y="3233324"/>
            <a:ext cx="2446696" cy="2746479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B87D34F-5AAD-86CF-5EE4-3D2462544FF3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516436" y="3351345"/>
            <a:ext cx="1896032" cy="251043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B0A4EC12-B150-B9F9-2D49-79583E12EBB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7610908" y="3666927"/>
            <a:ext cx="1652447" cy="203180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F5922190-DC5B-4612-A4D9-34014894D21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10317506" y="3680706"/>
            <a:ext cx="1579215" cy="1941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799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17114179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D70394-7175-CD69-49C4-F54DA84952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B4CEE426-3FE1-4D38-9918-25C02392BB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A1E18A7-BEFB-9EAD-5F34-E5E272C889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Nous avons déjà vu ces mots. 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8312A846-1533-3614-2D44-84D27082810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C3AA473-7CE1-0A96-B353-C3D7D2E9CFE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DA168A0D-C0CD-DE3D-258B-561C6A91279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67697" y="6220432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entre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DC6701D-E925-A2AD-91AB-F85A65DF074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896076" y="6217259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orti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219365-55E9-2A24-8ABB-FC1B88E7406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858000" y="6218342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donne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049DD86-DDDF-4AD9-EFA5-28F7D257061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969588" y="6217259"/>
            <a:ext cx="26605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prendre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B9F1049-A64C-D8D4-5382-D7C7A1C44B24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363573" y="3546342"/>
            <a:ext cx="1957680" cy="188485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68C2166-B437-F329-44A9-75C37EE34BA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251205" y="3489437"/>
            <a:ext cx="2038686" cy="194176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D39AA6A7-25C9-D8EF-FB01-F795AC36EBA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7197503" y="3293496"/>
            <a:ext cx="2114715" cy="213770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F274EAE3-B83A-128F-B380-E5435881EBF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10192185" y="3546342"/>
            <a:ext cx="2183673" cy="188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9807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41CBB-B2AA-E5C5-5BE8-D8A58A5B91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>
            <a:extLst>
              <a:ext uri="{FF2B5EF4-FFF2-40B4-BE49-F238E27FC236}">
                <a16:creationId xmlns:a16="http://schemas.microsoft.com/office/drawing/2014/main" id="{4A36BF74-7D14-7794-3686-8D4F3FD057B7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3777690-81C2-78D8-7641-4B9A6D20E8F1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DCDDCDD-AFD7-A730-35D1-8CD7CADD4329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8DCB4992-FE6B-AF5E-3576-E3DD6977169E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F7951824-79FA-FEAE-32AD-E3036680E99F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772032"/>
                <a:chOff x="195880" y="180292"/>
                <a:chExt cx="8769597" cy="772032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9315170B-DBA1-3761-4C1C-1B751D0AECEC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897944C-1FA0-16D7-55A4-6AD8A5EE34A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4" y="746104"/>
                  <a:ext cx="8763377" cy="206220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4A332F6-CCD2-0372-9FD7-8B86645643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762392" y="80578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8524CE5-A87A-C0B4-0571-5B7334F3B6C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07967" y="718168"/>
            <a:ext cx="9569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Nous allons jouer au jeu des mots qui bougent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CE80C6C9-5609-7203-9B5D-452695A3B81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5BE16E2B-05C5-6A93-6985-321CC64A0A5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0264809C-393B-5D3F-AD4B-594828419C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116765" y="7020212"/>
            <a:ext cx="75125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400" b="1" dirty="0">
                <a:solidFill>
                  <a:srgbClr val="106584"/>
                </a:solidFill>
              </a:rPr>
              <a:t>Jeu des mots qui bougent</a:t>
            </a:r>
          </a:p>
        </p:txBody>
      </p:sp>
      <p:pic>
        <p:nvPicPr>
          <p:cNvPr id="14" name="Image 13" descr="Une image contenant vert, Graphique, Caractère coloré&#10;&#10;Description générée automatiquement">
            <a:extLst>
              <a:ext uri="{FF2B5EF4-FFF2-40B4-BE49-F238E27FC236}">
                <a16:creationId xmlns:a16="http://schemas.microsoft.com/office/drawing/2014/main" id="{CC51ACAD-3720-23F0-4EEF-B9D11A24A6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9041" y="3656414"/>
            <a:ext cx="2517917" cy="2974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0964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80B93-E83E-6CFA-38B5-A19284440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02DE6E5B-7DC7-DBA7-E72D-17731AC20A4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26472" y="70433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A9F145B-B5DE-A03E-EE39-5B20827127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62526" y="576203"/>
            <a:ext cx="1188720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Observez bien ces images. Je vais bouger deux images. Vous devez les trouver.  </a:t>
            </a:r>
          </a:p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i veut  m’expliquer la règle du jeu en arabe ? 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2C47664-4091-284E-74B6-E9EDDBC160A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228654E9-49E8-7049-D8A2-30ABB89E95C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40605" y="452216"/>
            <a:ext cx="1250264" cy="151277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E5A117CA-77DF-6DA4-D2DF-28A9599C22D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4411304" y="3770260"/>
            <a:ext cx="2446696" cy="2746479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2852F0B-6CA7-A56B-8132-5BAD1A58B38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675214" y="3888281"/>
            <a:ext cx="1896032" cy="2510438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A9D961D2-F56D-FF2E-3438-4F6E0E4A99C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7769686" y="4203863"/>
            <a:ext cx="1652447" cy="203180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16B042C6-2F79-A9D0-0236-46B70E1CBD3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0476284" y="4217642"/>
            <a:ext cx="1579215" cy="1941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0620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5ACD6-5571-1723-C3D9-0D2572DA8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F503D248-84CA-3B27-5C09-60063E3CBAD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8944B3A-71D6-AF41-49D5-587C89F064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elles sont les images qui ont bougé ? 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92C20ADD-56E4-7E34-4DF6-FE5069DA068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9BC2999E-3A56-F118-C0B6-43B59A8692B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40605" y="452216"/>
            <a:ext cx="1250264" cy="151277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0ECB72F-6509-3CF5-5BBE-8A62AC3262F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0058126" y="3834428"/>
            <a:ext cx="2446696" cy="2746479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AD2098A-5B61-9464-05B6-59FC8DB4EED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675214" y="3888281"/>
            <a:ext cx="1896032" cy="2510438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BC0B288A-44B7-04AF-2079-3DC01ED7130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7769686" y="4203863"/>
            <a:ext cx="1652447" cy="203180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968BC06F-19F1-4F02-C0CE-E9977FFFA5C5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4973380" y="4203863"/>
            <a:ext cx="1579215" cy="1941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6138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2A584-CF39-F8E8-8046-BBA7009B16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7C54FFA4-32A5-CE7C-886E-2C992D5210D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2853F84-4996-79BC-C168-75CEF2DD71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Les images qui ont bougé sont « courir » et « fermer ».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30FEFC8D-3144-36B4-69AF-E0AD335835C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E62A48C2-3AA1-1842-6A5C-1628BCB266C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2CC061F3-CC61-EFE4-BD6C-09D8B12E0C2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058126" y="3834428"/>
            <a:ext cx="2446696" cy="2746479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4FD4171-A8B7-B0CD-0EEE-B748120FF38B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675214" y="3888281"/>
            <a:ext cx="1896032" cy="251043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DD20E9F-0A87-C46A-7AAA-204E40DC6FC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7769686" y="4203863"/>
            <a:ext cx="1652447" cy="203180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2971FF8E-7232-5EAF-6C1A-A8086FB84A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973380" y="4203863"/>
            <a:ext cx="1579215" cy="1941758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D3A6AB05-76B7-7862-E1EE-D143F7F1B56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489213" y="4049669"/>
            <a:ext cx="2671927" cy="2533807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F97B21CE-C1BF-CA9D-F5CC-3112D981B83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945510" y="3926999"/>
            <a:ext cx="2671927" cy="2533807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964903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04BBD-DFAD-C014-4DE9-FC2D59045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32982B80-35F1-826D-7284-C0906691F5F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2392" y="80578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BBA02FB8-27B5-2D53-619A-31542FA9A3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07967" y="718168"/>
            <a:ext cx="9569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Nous allons jouer au jeu du mot invisible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533D8A4B-4B26-6356-116A-482D756F69B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1FFB2F1E-B163-2637-35DF-5C1E3E36BD3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7DC72B3E-0F90-78C8-AE7F-D28F81BFDAC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11493" y="6522997"/>
            <a:ext cx="690798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0" b="1" dirty="0">
                <a:solidFill>
                  <a:srgbClr val="106584"/>
                </a:solidFill>
              </a:rPr>
              <a:t>Jeu du mot invisible. </a:t>
            </a:r>
          </a:p>
        </p:txBody>
      </p:sp>
      <p:pic>
        <p:nvPicPr>
          <p:cNvPr id="7" name="Image 6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898F2083-85D9-A0ED-F09A-B66C95969A6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441641" y="2561126"/>
            <a:ext cx="2847686" cy="3445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6535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0D7E0E-9FE4-59EB-EDD8-FA2517D46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44744BDD-537A-B5BD-F404-5AAE6B61993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82930" y="70433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50A94C2-80A6-4901-A5B4-1468C3A5DC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62526" y="576203"/>
            <a:ext cx="1188720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Observez bien ces images. Je vais enlever une image. Vous devez la trouver.  </a:t>
            </a:r>
          </a:p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i veut m’expliquer la règle du jeu en arabe ? 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0D574176-4813-9783-D076-10503586F24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FC9F27A-3FE5-C33F-5B33-0B0E352C508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40605" y="452216"/>
            <a:ext cx="1250264" cy="151277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B8A5E39-61C8-3E71-9930-14B93EDAFB8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340130" y="4476784"/>
            <a:ext cx="1957680" cy="188485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BF2F919E-06B0-AE16-1E48-62F08FBAA15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227762" y="4419879"/>
            <a:ext cx="2038686" cy="194176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5692239-B582-094D-C3F0-70934C4BB61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7174060" y="4223938"/>
            <a:ext cx="2114715" cy="21377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3E57520-8C39-5C2A-121F-499FB8C70E0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0168742" y="4476784"/>
            <a:ext cx="2183673" cy="188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0614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1A4AE9-A02A-EBA0-7B8D-27049D668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6DF05D6A-EE3E-50C8-2227-461C5E154B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BC3435C-0F7C-E08C-94F9-C6EE516C271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el est le mot qui manque?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995F4D11-2BE1-F8B5-5B73-E5C31D7D57C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29490B5C-1B08-E703-ED28-793B63902B9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3" name="Image 12">
            <a:extLst>
              <a:ext uri="{FF2B5EF4-FFF2-40B4-BE49-F238E27FC236}">
                <a16:creationId xmlns:a16="http://schemas.microsoft.com/office/drawing/2014/main" id="{C3B924F4-2308-B8CB-43A3-7CEC644B0D9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340130" y="4476784"/>
            <a:ext cx="1957680" cy="188485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968B313-2F33-F4E2-5B00-2E8A156ED4B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7174060" y="4223938"/>
            <a:ext cx="2114715" cy="2137701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31C288A9-C2A9-E449-3768-079AD9A35AD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041207" y="4520048"/>
            <a:ext cx="2183673" cy="188485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6C8BD779-35DE-F102-AC1B-B78F8675084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57290" y="3885120"/>
            <a:ext cx="385763" cy="3154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9900" b="1" dirty="0">
                <a:solidFill>
                  <a:schemeClr val="accent6">
                    <a:lumMod val="75000"/>
                  </a:schemeClr>
                </a:solidFill>
                <a:latin typeface="Calibri"/>
              </a:rPr>
              <a:t>?</a:t>
            </a:r>
            <a:endParaRPr lang="fr-MA" sz="1660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5362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A97F7-011A-AC4B-8AF4-FE8EDA92B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E71AA1E4-ACC8-9038-EC31-437B235E2B5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5CED302-10FB-1154-4C57-FC1D301183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Le mot qui manque est « sortir »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7B6F8700-182F-7577-B165-48E3F8A3767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1A86CF8-A863-67A0-1DC9-B6B4CA77938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2" name="Ellipse 11">
            <a:extLst>
              <a:ext uri="{FF2B5EF4-FFF2-40B4-BE49-F238E27FC236}">
                <a16:creationId xmlns:a16="http://schemas.microsoft.com/office/drawing/2014/main" id="{089E3AC3-7457-ED38-82C1-CAFF0C3FF48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743215" y="3870465"/>
            <a:ext cx="3007779" cy="309749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75E7C11-A8AE-8DE8-D379-9110B05207D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340130" y="4476784"/>
            <a:ext cx="1957680" cy="188485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B950B3C-2912-489F-5EBC-0FCC473C290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4227762" y="4419879"/>
            <a:ext cx="2038686" cy="194176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96CED16A-8E8B-D1F9-023C-BB67824C6815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7174060" y="4223938"/>
            <a:ext cx="2114715" cy="21377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FCDDAB3-3709-9B9E-202D-2E1444B13F4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0168742" y="4476784"/>
            <a:ext cx="2183673" cy="188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7321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7D86EA-8A3B-A365-AFAE-B7E25982D7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D16F65C3-1EDF-272E-F1E2-49E85880E6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82930" y="74787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488D5144-2480-91BF-3354-4D7C08BF453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E0D7C17E-65A5-9228-706C-A7E15C99098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39488" y="658696"/>
            <a:ext cx="8341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nommer les images ?</a:t>
            </a:r>
            <a:endParaRPr lang="fr-FR" sz="24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A19E497-04F8-1CC3-F261-E61D786AB28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1372169" y="564683"/>
            <a:ext cx="1784910" cy="1102940"/>
          </a:xfrm>
          <a:prstGeom prst="roundRect">
            <a:avLst>
              <a:gd name="adj" fmla="val 31362"/>
            </a:avLst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0EC2CC3-D8D3-48E5-8A66-2F0AACADED6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0545945" y="4248885"/>
            <a:ext cx="1652447" cy="203180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41AE4910-A6E9-3C08-1172-E830485E8B2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8102053" y="4248885"/>
            <a:ext cx="1579215" cy="194175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93A675F-992B-76EE-C6C5-C16B312C2B6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767871" y="3954366"/>
            <a:ext cx="2114715" cy="213770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FE7240E-3A65-7E84-9DAC-7311C007139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4762553" y="4207212"/>
            <a:ext cx="2183673" cy="188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798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3764796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5CDBE-A984-03F5-139C-FC55F2DACE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5831EFF4-D596-6FD3-28F2-816751E0CC5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82930" y="74787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A4CAC401-8A4D-FC7F-63F7-3C924D37E8A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45BCD998-FD59-9732-2C44-6C43CD4B676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39488" y="658696"/>
            <a:ext cx="8341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nommer les images ?</a:t>
            </a:r>
            <a:endParaRPr lang="fr-FR" sz="24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3F6240CD-8DA3-CF14-DEE5-348C08C423D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1372169" y="564683"/>
            <a:ext cx="1784910" cy="1102940"/>
          </a:xfrm>
          <a:prstGeom prst="roundRect">
            <a:avLst>
              <a:gd name="adj" fmla="val 31362"/>
            </a:avLst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CD99111F-FAC2-EAB4-A24B-7E531CFDDED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4266926" y="3770260"/>
            <a:ext cx="2446696" cy="2746479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26B00B6-187E-16FF-CE4A-06D7689DE72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530836" y="3888281"/>
            <a:ext cx="1896032" cy="251043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4005B6EF-47A3-638B-76AC-7E93BC57B431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7371965" y="4207212"/>
            <a:ext cx="1957680" cy="188485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AA5BD6F3-0097-F781-A7E4-60C63BA78A79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0259597" y="4150307"/>
            <a:ext cx="2038686" cy="194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9124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E42BE-0D7D-D35C-EEB4-84654DC632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7E346547-A865-7E96-C019-78E8E05B37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12880" y="73191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B28F0CC-2786-B5D4-4D51-731281E7515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11179" y="615993"/>
            <a:ext cx="8341889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es élèves entrent en classe. </a:t>
            </a:r>
          </a:p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me montrer la bonne image ?</a:t>
            </a:r>
            <a:endParaRPr lang="fr-FR" sz="24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6C5E8E4-D111-B1E8-7265-A511F66DBBF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1372169" y="564683"/>
            <a:ext cx="1784910" cy="1102940"/>
          </a:xfrm>
          <a:prstGeom prst="roundRect">
            <a:avLst>
              <a:gd name="adj" fmla="val 31362"/>
            </a:avLst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607B873C-B862-6EF0-EC19-6A5BC558C5D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76E9389C-4D47-4235-D146-40F9B149E6F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61285" y="2403181"/>
            <a:ext cx="99504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Les élèves entrent en classe. 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8DDFDF2-88F4-40B7-2E64-C20D29FA2E5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451376" y="4498427"/>
            <a:ext cx="4966089" cy="370911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080B2F9-E86E-6700-9FCC-1F34F7154C2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7361876" y="4634481"/>
            <a:ext cx="4902748" cy="3460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2888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8F3C1D-8A18-4244-DB8B-AE89DF513B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55EDE04-F3C4-BE96-C72B-EB3BB9668F5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1A66E7FF-7486-5510-44B6-3C04607B673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7B4465BE-AB5E-F851-2414-42EA6851B7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92F12827-C543-73B4-D262-43D6D92277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1" y="1260912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B41346-18CC-C622-C14B-BFD3AFD258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-17842" y="3793435"/>
            <a:ext cx="13716000" cy="38010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indent="3043238" defTabSz="914400">
              <a:spcAft>
                <a:spcPts val="30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1. </a:t>
            </a:r>
            <a:r>
              <a:rPr lang="fr-FR" sz="48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Vocabulaire 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rgbClr val="BFBFBF"/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R="0" lvl="0" indent="3043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2. Participer à un dialogu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3. </a:t>
            </a:r>
            <a:r>
              <a:rPr lang="fr-FR" sz="48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Lec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4. </a:t>
            </a:r>
            <a:r>
              <a:rPr lang="fr-FR" sz="48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Écri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069C769-9CF1-D505-0D0D-BCE74854216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88820" y="4931955"/>
            <a:ext cx="1497114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4830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6C57B7-8B58-B7AB-6B00-7B835A74AF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8B80AB1E-6D9B-072D-C1FE-BAF91BF0F8A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42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64A30D85-2F27-A42E-AA77-74556190FB8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7D07EC3B-E5DF-144B-BD83-C78F0D24D61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6AA3CCDC-87C7-D72C-71EA-699789CEDB91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2120CC06-CD2B-099A-0D73-BC13CBB5F3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5B4045B-34AB-0F1F-0510-66A83C58FD3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 de l’activité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5BB7B4F1-19BF-6D8F-4C42-134374F4A19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49321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0BA6D18C-B45C-3134-87CD-7B5EA921529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24702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41C9E4A-D71D-1185-6A3A-DB3199281C6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6F9A344A-26DD-3EF9-CAB6-B098B1929BE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97182" y="5351924"/>
            <a:ext cx="9779311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rticiper à un dialogue en mobilisant les actes de parole étudiés.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2991D094-B820-CFCF-B9F8-7573D758CAE0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757971" y="5328174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05544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2E21719-7314-20EB-019B-2CF23B56296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71600" y="636631"/>
            <a:ext cx="12409713" cy="558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45" rtl="0" eaLnBrk="1" fontAlgn="auto" latinLnBrk="0" hangingPunct="1">
              <a:lnSpc>
                <a:spcPts val="4022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Nous allons réécouter le dialogue entre Karim et Rita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5ABF8F8-4B4C-CC31-DCD3-12F1B59E432B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45270363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7218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arcours_1_Pd2_S3_s1_Dialogue">
            <a:hlinkClick r:id="" action="ppaction://media"/>
            <a:extLst>
              <a:ext uri="{FF2B5EF4-FFF2-40B4-BE49-F238E27FC236}">
                <a16:creationId xmlns:a16="http://schemas.microsoft.com/office/drawing/2014/main" id="{1A30DA89-A4D9-6D8E-1F84-5B7AD7D7CFD9}"/>
              </a:ext>
            </a:extLst>
          </p:cNvPr>
          <p:cNvPicPr>
            <a:picLocks noChangeAspect="1"/>
          </p:cNvPicPr>
          <p:nvPr>
            <a:audioFile r:link="rId9"/>
            <p:custDataLst>
              <p:tags r:id="rId10"/>
            </p:custDataLst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686728" y="812557"/>
            <a:ext cx="487363" cy="487363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0DD6E504-A5E7-C320-5D60-F5CA15176BE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10653" y="749001"/>
            <a:ext cx="88768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iffusion automatique.</a:t>
            </a: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14414B7C-51E2-23C2-E5E6-ADFD3E4D5041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44403374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2374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55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75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250"/>
                                  </p:stCondLst>
                                  <p:childTnLst>
                                    <p:set>
                                      <p:cBhvr>
                                        <p:cTn id="23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596F9-47DB-688D-484A-D15B5942C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B43E4095-B2B6-62C2-06F2-AA61DB84714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685427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DB021DC-6A8E-E6C0-4C74-4D0E042445C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8651" y="592289"/>
            <a:ext cx="12139061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tenant, vous allez jouer l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 dialogue. </a:t>
            </a:r>
          </a:p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afficher des images pour vous aider. 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A449718-BA4F-DB5F-D50A-EB9F4836FDF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83528" y="2969938"/>
            <a:ext cx="7493969" cy="484710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186232E-2457-1425-3A9F-0FE81D38DB5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820051" y="614060"/>
            <a:ext cx="1274595" cy="140718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A59C789D-4680-93D3-F5B1-AFD1D4817687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45270363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97889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9817C1-4B44-741B-B708-16517BF524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6781634B-2368-C9A5-24BB-0AC4C83491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794282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C7C3EA7-6F81-B0ED-1F24-66AAA4AD02F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14475" y="566827"/>
            <a:ext cx="2263358" cy="1463943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ED74157-0748-A8EE-6D32-3DCD1FC008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8651" y="608611"/>
            <a:ext cx="7825587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jouer le dialogue ?</a:t>
            </a:r>
          </a:p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tes ce que vous avez dans votre trousse et votre cartable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706B2B1-9E99-EC08-FA67-FB3041F0276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2330915" y="3355594"/>
            <a:ext cx="1342990" cy="114861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C1503C3-AF34-F2EA-D167-CCEB905202B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2385206" y="4803302"/>
            <a:ext cx="1234408" cy="117015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EB9EB3F-FAD2-8F24-746C-B29F16837D24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2361098" y="6054096"/>
            <a:ext cx="1270658" cy="1532609"/>
          </a:xfrm>
          <a:prstGeom prst="rect">
            <a:avLst/>
          </a:prstGeom>
        </p:spPr>
      </p:pic>
      <p:sp>
        <p:nvSpPr>
          <p:cNvPr id="11" name="ZoneTexte 4">
            <a:extLst>
              <a:ext uri="{FF2B5EF4-FFF2-40B4-BE49-F238E27FC236}">
                <a16:creationId xmlns:a16="http://schemas.microsoft.com/office/drawing/2014/main" id="{476E4854-AEC1-99B1-A60D-B8FEAEB05AC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031206" y="3426759"/>
            <a:ext cx="9241882" cy="412420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Il y a quoi dans ta trousse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Dans ma trousse, il y a … 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marR="0" lvl="0" indent="-4572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2800" b="1" i="0" u="none" strike="noStrike" kern="100" cap="none" spc="425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’est-ce qu’il y a dans ton cartable ?</a:t>
            </a: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Dans mon cartable, il y a … . </a:t>
            </a:r>
          </a:p>
          <a:p>
            <a:pPr>
              <a:spcAft>
                <a:spcPts val="1200"/>
              </a:spcAft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Il y a combien de livres dans ton cartable ?</a:t>
            </a: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Dans mon cartable, il y a … .</a:t>
            </a: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DD55506A-7C99-A114-CD1B-5C851BF8E2CB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37976285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3" name="ZoneTexte 12">
            <a:extLst>
              <a:ext uri="{FF2B5EF4-FFF2-40B4-BE49-F238E27FC236}">
                <a16:creationId xmlns:a16="http://schemas.microsoft.com/office/drawing/2014/main" id="{7AD09950-0906-7CBD-92C0-ED90124DFEC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181563" y="8267515"/>
            <a:ext cx="452482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les élèves échangent les rôles</a:t>
            </a:r>
          </a:p>
        </p:txBody>
      </p:sp>
    </p:spTree>
    <p:extLst>
      <p:ext uri="{BB962C8B-B14F-4D97-AF65-F5344CB8AC3E}">
        <p14:creationId xmlns:p14="http://schemas.microsoft.com/office/powerpoint/2010/main" val="28956567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55F53C-E8E3-51E9-3AD1-D5609F6EB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B902715-D28E-18F8-219E-9BB1E5FBF13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03E456CB-E8B0-0979-6EA7-714D57BCDB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F7C5B3E8-12A0-A532-4460-1CA8B5209A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07BF49FC-D5CB-721A-D1BD-456F7249153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1" y="1260912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3047A3-870B-7081-63C4-387F898FC8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-17842" y="3793435"/>
            <a:ext cx="13716000" cy="38010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indent="3043238" defTabSz="914400">
              <a:spcAft>
                <a:spcPts val="30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1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Vocabulaire 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R="0" lvl="0" indent="3043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2. Participer à un dialogu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lang="fr-FR" sz="4800" b="1" dirty="0">
                <a:solidFill>
                  <a:srgbClr val="106584"/>
                </a:solidFill>
                <a:latin typeface="Dosis" pitchFamily="2" charset="0"/>
                <a:cs typeface="Calibri" panose="020F0502020204030204" pitchFamily="34" charset="0"/>
              </a:rPr>
              <a:t>Activité 3. Lectur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4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A247C07-2E4D-F815-DBCF-6879BDA5BBF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88820" y="5794479"/>
            <a:ext cx="1497114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6457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F12DE-848E-8374-BF88-0E7DF6BEC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1522FEB4-4FFD-FD50-641A-50C1EAA977D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853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C6B9713A-1B9D-0787-B778-5B45E0E6811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0EB30CBD-4FAF-12DD-B2DE-C0EB3970B335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C892A7DA-03B9-84FA-CBC7-4717A1F410E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ECF39F5C-9D6D-5DB2-048F-BAD06B0031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CCF14BC4-3E10-930B-A3F5-338CAA0501D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 de l’activité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D8C4DCA1-2498-F447-2DF1-08B32EBB30E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A190D87A-EF30-53B2-2C94-0DB6916F05E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BA77AE5-F948-DD09-9FAB-086DC5D3CC5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A354530A-8080-E811-6829-98311DD4628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900362" y="4823826"/>
            <a:ext cx="7386637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Identifier et lire la lettre s.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6D3E03B-1797-EE67-5450-FB596B729FF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641670" y="4728347"/>
            <a:ext cx="504425" cy="549067"/>
          </a:xfrm>
          <a:prstGeom prst="rect">
            <a:avLst/>
          </a:prstGeom>
        </p:spPr>
      </p:pic>
      <p:sp>
        <p:nvSpPr>
          <p:cNvPr id="10" name="TextBox 10">
            <a:extLst>
              <a:ext uri="{FF2B5EF4-FFF2-40B4-BE49-F238E27FC236}">
                <a16:creationId xmlns:a16="http://schemas.microsoft.com/office/drawing/2014/main" id="{23C63AF3-FE72-26BA-18DF-C42BF14F2F0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900362" y="5781465"/>
            <a:ext cx="7386637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ire des syllabes, des mots et des phrases simples.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6625EF1-4EC3-4FAC-FBCB-3A37516DFA9D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641670" y="5685986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883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6561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57B53F93-3F33-1905-AFB1-214629EFA37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57062" y="70210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4BB3096F-7673-6BFF-2D74-05AD8519ED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64694" y="683764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us avons déjà vu la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tre s. Elle fait le son « s »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C407826-ACBE-8F3E-4368-D6D04B2D408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480F831-EA61-A46A-4D70-8FD81F139D0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4266158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1B589BC4-28F7-F35E-9184-85FF90E3AA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8960" y="3258368"/>
            <a:ext cx="12973049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MA" sz="23900" b="1" dirty="0">
                <a:solidFill>
                  <a:srgbClr val="106584"/>
                </a:solidFill>
                <a:latin typeface="KG Primary Penmanship 2" panose="020B0604020202020204" charset="0"/>
              </a:rPr>
              <a:t>s   </a:t>
            </a:r>
            <a:r>
              <a:rPr lang="fr-MA" sz="239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S</a:t>
            </a:r>
            <a:r>
              <a:rPr lang="fr-MA" sz="23900" dirty="0">
                <a:solidFill>
                  <a:srgbClr val="106585"/>
                </a:solidFill>
                <a:latin typeface="Candara" panose="020E0502030303020204" pitchFamily="34" charset="0"/>
              </a:rPr>
              <a:t> </a:t>
            </a:r>
            <a:endParaRPr lang="fr-MA" sz="239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7506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05B9B8-F1F2-2EDF-910D-3C57707CD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50DD5467-CA06-88A6-95D3-DCBD4164ACE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63836" y="578762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S - s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Qui veut répéter ?  </a:t>
            </a:r>
            <a:endParaRPr kumimoji="0" lang="fr-FR" sz="225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107470DF-4974-E6DE-10AA-45BDF2D1CF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7062" y="70210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DD13EF4-1AC4-4357-E17A-2DC7EADFDD6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132461" y="587312"/>
            <a:ext cx="1860771" cy="1241124"/>
          </a:xfrm>
          <a:prstGeom prst="rect">
            <a:avLst/>
          </a:prstGeom>
        </p:spPr>
      </p:pic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BAF6D57F-3126-A910-A82B-C02AE4BD20D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10350916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4" name="ZoneTexte 3">
            <a:extLst>
              <a:ext uri="{FF2B5EF4-FFF2-40B4-BE49-F238E27FC236}">
                <a16:creationId xmlns:a16="http://schemas.microsoft.com/office/drawing/2014/main" id="{D548A11C-C217-A110-334D-214045AFF4B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8960" y="3258368"/>
            <a:ext cx="12973049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MA" sz="23900" b="1" dirty="0">
                <a:solidFill>
                  <a:srgbClr val="106584"/>
                </a:solidFill>
                <a:latin typeface="KG Primary Penmanship 2" panose="020B0604020202020204" charset="0"/>
              </a:rPr>
              <a:t>s   </a:t>
            </a:r>
            <a:r>
              <a:rPr lang="fr-MA" sz="239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S</a:t>
            </a:r>
            <a:r>
              <a:rPr lang="fr-MA" sz="23900" dirty="0">
                <a:solidFill>
                  <a:srgbClr val="106585"/>
                </a:solidFill>
                <a:latin typeface="Candara" panose="020E0502030303020204" pitchFamily="34" charset="0"/>
              </a:rPr>
              <a:t> </a:t>
            </a:r>
            <a:endParaRPr lang="fr-MA" sz="239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7860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E2AA0C-0494-59F1-C26B-F16953DEBF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27BA94BB-37AA-D3D1-4802-AAC630128D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11060" y="742819"/>
            <a:ext cx="10115550" cy="445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i veut passer au tableau pour lire les syllabes ?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70005B29-B35D-9ED9-7560-402B756602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772111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1960B876-9EF0-B07A-4E61-7639E3F02AC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0851BAC5-FA1B-34F5-65DD-BD05BB2AF4C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0064AD2D-6D97-1152-5995-8169864DF8E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4358670"/>
            <a:ext cx="12973049" cy="40626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Sa   si   us   as   se   sou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88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sé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</a:t>
            </a:r>
            <a:r>
              <a:rPr lang="fr-MA" sz="88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is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</a:t>
            </a:r>
            <a:r>
              <a:rPr lang="fr-MA" sz="88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so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</a:t>
            </a:r>
            <a:r>
              <a:rPr lang="fr-MA" sz="88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ous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su</a:t>
            </a:r>
          </a:p>
        </p:txBody>
      </p:sp>
    </p:spTree>
    <p:extLst>
      <p:ext uri="{BB962C8B-B14F-4D97-AF65-F5344CB8AC3E}">
        <p14:creationId xmlns:p14="http://schemas.microsoft.com/office/powerpoint/2010/main" val="181992912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BAA6F7-4B52-658D-B9CD-C12366188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E9BD96F6-CB53-6DC6-3E5D-694D0A28D2E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11060" y="742819"/>
            <a:ext cx="10115550" cy="445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i veut passer au tableau pour lire les mots ?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C44F4294-18FF-D898-CAA5-7794B446FC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772111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D5D28FCC-2523-CD58-6F33-B9FD59D6F10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375F7CAF-65D1-DCC3-767A-59EEDE1664C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1CD9E5C-6F43-B0E8-C9DB-E26C845FC89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5143500"/>
            <a:ext cx="12973049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Sami   sal   sol</a:t>
            </a:r>
            <a:r>
              <a:rPr lang="fr-MA" sz="8800" b="1" dirty="0">
                <a:solidFill>
                  <a:schemeClr val="bg1">
                    <a:lumMod val="65000"/>
                  </a:schemeClr>
                </a:solidFill>
                <a:latin typeface="KG Primary Penmanship 2" panose="020B0604020202020204" charset="0"/>
              </a:rPr>
              <a:t>e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salé</a:t>
            </a:r>
            <a:endParaRPr lang="fr-MA" sz="8800" b="1" dirty="0">
              <a:solidFill>
                <a:schemeClr val="bg1">
                  <a:lumMod val="65000"/>
                </a:schemeClr>
              </a:solidFill>
              <a:latin typeface="KG Primary Penmanship 2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41792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D72527-072B-B62F-CFCF-64D4B053A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6B9C6474-3C98-2E6B-6949-442F1C81D37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28725" y="672435"/>
            <a:ext cx="123114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aintenant, je vais lire une phrase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Écoutez comment je fais : Sami. a. une. sole. Sami a une sole.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0CABAB93-E9A1-8BBC-6125-878A1BE1766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96B053E-C39D-C0AD-76A6-901D7227750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EB20A8F5-381D-406D-7AE0-60A6E36A858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5B3EBA5A-AE06-16F1-70A0-B933A8C93FC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63822" y="4081671"/>
            <a:ext cx="12988353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9600" b="1" dirty="0">
                <a:solidFill>
                  <a:srgbClr val="106584"/>
                </a:solidFill>
                <a:latin typeface="KG Primary Penmanship 2" panose="020B0604020202020204" charset="0"/>
              </a:rPr>
              <a:t>Sami a une sol</a:t>
            </a:r>
            <a:r>
              <a:rPr lang="fr-MA" sz="9600" b="1" dirty="0">
                <a:solidFill>
                  <a:schemeClr val="bg1">
                    <a:lumMod val="75000"/>
                  </a:schemeClr>
                </a:solidFill>
                <a:latin typeface="KG Primary Penmanship 2" panose="020B0604020202020204" charset="0"/>
              </a:rPr>
              <a:t>e</a:t>
            </a:r>
            <a:r>
              <a:rPr lang="fr-MA" sz="9600" b="1" dirty="0">
                <a:solidFill>
                  <a:srgbClr val="106584"/>
                </a:solidFill>
                <a:latin typeface="KG Primary Penmanship 2" panose="020B0604020202020204" charset="0"/>
              </a:rPr>
              <a:t>.</a:t>
            </a:r>
            <a:endParaRPr lang="fr-MA" sz="9600" b="1" dirty="0">
              <a:solidFill>
                <a:schemeClr val="bg1">
                  <a:lumMod val="65000"/>
                </a:schemeClr>
              </a:solidFill>
              <a:latin typeface="KG Primary Penmanship 2" panose="020B0604020202020204" charset="0"/>
            </a:endParaRPr>
          </a:p>
        </p:txBody>
      </p:sp>
      <p:sp>
        <p:nvSpPr>
          <p:cNvPr id="6" name="Parenthèse ouvrante 5">
            <a:extLst>
              <a:ext uri="{FF2B5EF4-FFF2-40B4-BE49-F238E27FC236}">
                <a16:creationId xmlns:a16="http://schemas.microsoft.com/office/drawing/2014/main" id="{C3E95612-E826-C573-09ED-51131F49711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4177029" y="5126623"/>
            <a:ext cx="303641" cy="2157411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8" name="Parenthèse ouvrante 7">
            <a:extLst>
              <a:ext uri="{FF2B5EF4-FFF2-40B4-BE49-F238E27FC236}">
                <a16:creationId xmlns:a16="http://schemas.microsoft.com/office/drawing/2014/main" id="{802209D6-BBF3-D3BA-7C94-158D400C344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5862423" y="5931484"/>
            <a:ext cx="303643" cy="547683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9" name="Parenthèse ouvrante 8">
            <a:extLst>
              <a:ext uri="{FF2B5EF4-FFF2-40B4-BE49-F238E27FC236}">
                <a16:creationId xmlns:a16="http://schemas.microsoft.com/office/drawing/2014/main" id="{60F5CA7A-1D51-8416-CA0A-4317E594B56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7210926" y="5460455"/>
            <a:ext cx="303644" cy="1489734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5" name="Parenthèse ouvrante 14">
            <a:extLst>
              <a:ext uri="{FF2B5EF4-FFF2-40B4-BE49-F238E27FC236}">
                <a16:creationId xmlns:a16="http://schemas.microsoft.com/office/drawing/2014/main" id="{9D585295-75B3-5135-8817-00DB2BC3190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16200000">
            <a:off x="8963869" y="5533538"/>
            <a:ext cx="303645" cy="1343557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</p:spTree>
    <p:extLst>
      <p:ext uri="{BB962C8B-B14F-4D97-AF65-F5344CB8AC3E}">
        <p14:creationId xmlns:p14="http://schemas.microsoft.com/office/powerpoint/2010/main" val="258606404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E44AF3-34E5-1F7C-34EE-6824D834D5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846D2AAC-6174-8ACC-E058-14034EF141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04569" y="732794"/>
            <a:ext cx="12311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elisons ensemble : Sami a une sole.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61EABC65-AE3B-3EC7-D6A6-176406351B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74BBF4B-7781-7985-C0DF-2E45A8F1B05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72244" y="572419"/>
            <a:ext cx="1747521" cy="1466991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75B1CEF1-D40F-487C-3788-34CAA344EAE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63822" y="4081671"/>
            <a:ext cx="12988353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9600" b="1" dirty="0">
                <a:solidFill>
                  <a:srgbClr val="106584"/>
                </a:solidFill>
                <a:latin typeface="KG Primary Penmanship 2" panose="020B0604020202020204" charset="0"/>
              </a:rPr>
              <a:t>Sami a une sol</a:t>
            </a:r>
            <a:r>
              <a:rPr lang="fr-MA" sz="9600" b="1" dirty="0">
                <a:solidFill>
                  <a:schemeClr val="bg1">
                    <a:lumMod val="75000"/>
                  </a:schemeClr>
                </a:solidFill>
                <a:latin typeface="KG Primary Penmanship 2" panose="020B0604020202020204" charset="0"/>
              </a:rPr>
              <a:t>e</a:t>
            </a:r>
            <a:r>
              <a:rPr lang="fr-MA" sz="9600" b="1" dirty="0">
                <a:solidFill>
                  <a:srgbClr val="106584"/>
                </a:solidFill>
                <a:latin typeface="KG Primary Penmanship 2" panose="020B0604020202020204" charset="0"/>
              </a:rPr>
              <a:t>.</a:t>
            </a:r>
            <a:endParaRPr lang="fr-MA" sz="9600" b="1" dirty="0">
              <a:solidFill>
                <a:schemeClr val="bg1">
                  <a:lumMod val="65000"/>
                </a:schemeClr>
              </a:solidFill>
              <a:latin typeface="KG Primary Penmanship 2" panose="020B0604020202020204" charset="0"/>
            </a:endParaRPr>
          </a:p>
        </p:txBody>
      </p:sp>
      <p:sp>
        <p:nvSpPr>
          <p:cNvPr id="6" name="Parenthèse ouvrante 5">
            <a:extLst>
              <a:ext uri="{FF2B5EF4-FFF2-40B4-BE49-F238E27FC236}">
                <a16:creationId xmlns:a16="http://schemas.microsoft.com/office/drawing/2014/main" id="{0CDAF834-4F5E-7AAC-0628-71D481765E8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4177029" y="5126623"/>
            <a:ext cx="303641" cy="2157411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9" name="Parenthèse ouvrante 8">
            <a:extLst>
              <a:ext uri="{FF2B5EF4-FFF2-40B4-BE49-F238E27FC236}">
                <a16:creationId xmlns:a16="http://schemas.microsoft.com/office/drawing/2014/main" id="{9E5AA16F-6EFC-BEC9-320A-31C319A7AF3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5862423" y="5931484"/>
            <a:ext cx="303643" cy="547683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2" name="Parenthèse ouvrante 11">
            <a:extLst>
              <a:ext uri="{FF2B5EF4-FFF2-40B4-BE49-F238E27FC236}">
                <a16:creationId xmlns:a16="http://schemas.microsoft.com/office/drawing/2014/main" id="{16CD795A-BFEC-AFBF-4085-D321E676385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7210926" y="5460455"/>
            <a:ext cx="303644" cy="1489734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3" name="Parenthèse ouvrante 12">
            <a:extLst>
              <a:ext uri="{FF2B5EF4-FFF2-40B4-BE49-F238E27FC236}">
                <a16:creationId xmlns:a16="http://schemas.microsoft.com/office/drawing/2014/main" id="{E410CCC8-5C1C-6713-9405-113CA1B61A0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8963869" y="5533538"/>
            <a:ext cx="303645" cy="1343557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A4FDABCC-813D-FD88-DFA5-A0706C67B36A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997081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CA017BAA-6BDB-904D-1E89-7E185C81E86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46424" y="1092330"/>
            <a:ext cx="99144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 les élèves ne disposent pas de manuels, ils lisent, de l’écran projeté, les phrases affichées. 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FFFF8468-C116-9493-5F59-453A7E2197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6AC1C3B-B4BC-F4A8-4769-F9489EE47C5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6424" y="634508"/>
            <a:ext cx="125575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675"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. Allez à la page 31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35D0AA5E-FC88-3905-C84C-E3FBE254FB7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7ACB1FB8-268D-03EA-79E7-62D77A45842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166142" y="1731750"/>
            <a:ext cx="5569398" cy="785542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4030321-7C00-E285-24E0-82B39F772C0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142743" y="8510705"/>
            <a:ext cx="5701442" cy="71438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816445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6970B-275D-32BC-96DE-ABBEA83E0A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B24A176D-DEDF-C6C8-BA3B-2D0C33CC092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801987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AB6A69C-8F22-C351-2E33-9542A6D2CD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7" y="710514"/>
            <a:ext cx="11947455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6. Je vais lire des phrases. Répétez après moi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CDA0A29-8686-AAB0-E7AF-0C13D9212E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37987" y="647490"/>
            <a:ext cx="1492309" cy="1252748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66FC199B-B8EF-D090-3F78-99E594674BA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2DB0B4F4-34A9-2C48-0A05-8D6E3C0CF69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852691" y="4157305"/>
            <a:ext cx="12014393" cy="197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55379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383575-7425-84E1-667E-91CD7F3FFC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93947872-4278-3AEC-A5D4-8121D817B80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773411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497D8E4-272A-3499-2F2C-9DFFAF6AF3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7" y="610498"/>
            <a:ext cx="1194745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aintenant, lisez les phrases à votre voisin. Ensuite, échangez les rôles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pour vous aider.</a:t>
            </a:r>
          </a:p>
        </p:txBody>
      </p:sp>
      <p:pic>
        <p:nvPicPr>
          <p:cNvPr id="3" name="Image 2" descr="Une image contenant dessin, dessin humoristique, croquis, Dessin d’enfant&#10;&#10;Description générée automatiquement">
            <a:extLst>
              <a:ext uri="{FF2B5EF4-FFF2-40B4-BE49-F238E27FC236}">
                <a16:creationId xmlns:a16="http://schemas.microsoft.com/office/drawing/2014/main" id="{B02A7043-90A7-ED8D-2463-4821E9487FB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6080" y="779977"/>
            <a:ext cx="1598255" cy="1180010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254E51BC-0C5F-F2ED-9231-98D14B7D260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9623CF82-DAEB-8501-E11C-0BA5293AF1B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852691" y="4157305"/>
            <a:ext cx="12014393" cy="197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8214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FC3F28-3F95-6543-C77E-08F2380C17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66430208-D171-6E76-1139-B75B4305BD4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7CCA8F3-A452-3929-5CC3-A0986AC0C0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7C980C79-AA18-4C61-7221-0A455EC4A3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90187BDF-5C30-1984-3D9B-61DF88B210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1" y="1260912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AE5E5A-73DA-80E2-BCA6-3EEAA062334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-17842" y="3793435"/>
            <a:ext cx="13716000" cy="38010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indent="3043238" defTabSz="914400">
              <a:spcAft>
                <a:spcPts val="30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1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Vocabulaire 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R="0" lvl="0" indent="3043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2. Participer à un dialogu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3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Lec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indent="3043238" defTabSz="914400">
              <a:spcAft>
                <a:spcPts val="1800"/>
              </a:spcAft>
              <a:defRPr/>
            </a:pPr>
            <a:r>
              <a:rPr lang="fr-FR" sz="4800" b="1" dirty="0">
                <a:solidFill>
                  <a:srgbClr val="106585"/>
                </a:solidFill>
                <a:latin typeface="Dosis" pitchFamily="2" charset="0"/>
                <a:cs typeface="Calibri" panose="020F0502020204030204" pitchFamily="34" charset="0"/>
              </a:rPr>
              <a:t>Activité 4. Écriture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04DEB76-7FEF-AEA8-6955-6E37DEF4775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0506" y="6810380"/>
            <a:ext cx="1497114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5937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403767712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FC2F2-F15F-7FDE-DB55-233E4BA9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66AEA9B4-E395-9A1C-9C9E-5C00546246F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42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986D295A-C150-FB47-1266-15985A7B9D4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EC5CABC-DA83-4E5E-9E81-CEB76365A645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E213B070-1694-7EC2-2274-F99AD3F058C0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4B6CD92-32AD-05E5-F2CC-DDFE855689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011624A0-326C-EAD2-DE60-D589EF991E0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 l’activité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8D17433D-82B7-EFE6-2467-755E51E283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509494E5-D6A2-19B4-583F-48666788C21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BFC76A8-1A01-3D87-32F9-A8E2FFAB4AB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888C3C46-4C61-F2A9-30DA-CC69B876C18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886075" y="5234952"/>
            <a:ext cx="9523640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defTabSz="685800">
              <a:lnSpc>
                <a:spcPts val="3026"/>
              </a:lnSpc>
              <a:spcAft>
                <a:spcPts val="600"/>
              </a:spcAft>
              <a:defRPr/>
            </a:pP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Écrire correctement, sous dictée, des syllabes.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32E092A-930D-EB04-0284-82F0E0AC84D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641670" y="5139473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0320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ECF20E-FF45-A43A-6F3A-99B7D48DB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">
            <a:extLst>
              <a:ext uri="{FF2B5EF4-FFF2-40B4-BE49-F238E27FC236}">
                <a16:creationId xmlns:a16="http://schemas.microsoft.com/office/drawing/2014/main" id="{01032046-D188-65BB-F18E-E78D3BE3000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DF5453-4153-358A-36D5-F86A47E71BE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46424" y="634508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 et un crayon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A3E845F-604F-C835-1434-6653962B027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2699334" y="2571317"/>
            <a:ext cx="3999271" cy="5710896"/>
          </a:xfrm>
          <a:prstGeom prst="rect">
            <a:avLst/>
          </a:prstGeom>
        </p:spPr>
      </p:pic>
      <p:pic>
        <p:nvPicPr>
          <p:cNvPr id="4" name="Image 3" descr="Une image contenant dessin, croquis, briquet, illustration&#10;&#10;Description générée automatiquement">
            <a:extLst>
              <a:ext uri="{FF2B5EF4-FFF2-40B4-BE49-F238E27FC236}">
                <a16:creationId xmlns:a16="http://schemas.microsoft.com/office/drawing/2014/main" id="{6ED62753-EA9F-94B6-0569-6B6CE03A9D3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992" y="4190466"/>
            <a:ext cx="2010942" cy="247259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99577B13-6923-0D00-948F-1DE0691CD30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94027" y="1092330"/>
            <a:ext cx="76867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&gt;  </a:t>
            </a: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Si les élèves ne disposent pas de manuels, faire la dictée sur les cahiers.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FFA1BD46-EFEE-E8B8-F931-ABD212C5F0BC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4B26FE18-E6EB-99E0-E874-F49D453150B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4350" y="577671"/>
            <a:ext cx="1282512" cy="1115530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860391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8">
            <a:extLst>
              <a:ext uri="{FF2B5EF4-FFF2-40B4-BE49-F238E27FC236}">
                <a16:creationId xmlns:a16="http://schemas.microsoft.com/office/drawing/2014/main" id="{1A6C8F40-046A-D562-4E97-F761077A29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12019" y="790333"/>
            <a:ext cx="364161" cy="31857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02C822F5-D118-EF17-441A-34FD6190E26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7300" y="710527"/>
            <a:ext cx="6558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Allez à la page 32.</a:t>
            </a:r>
            <a:endParaRPr kumimoji="0" lang="fr-FR" sz="240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90AA06D1-2946-1283-742C-17523ECD057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4350" y="577671"/>
            <a:ext cx="1282512" cy="1115530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756BB37F-0AA3-833D-ABE2-67C8343350C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29819353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4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E42B6B00-E234-BAAC-09A1-41C25D0D5B6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4067412" y="1744791"/>
            <a:ext cx="5581176" cy="788327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122A771-AF24-6F80-A495-8E7177AA8B6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57638" y="7803099"/>
            <a:ext cx="5581177" cy="141446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476386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B3F552-6007-9678-8D38-A4D43FD546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A833183A-43AA-8BA4-2B4B-28A61467370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3747" y="738856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90">
              <a:defRPr/>
            </a:pPr>
            <a:endParaRPr lang="fr-MA" sz="135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A85C68D-8DED-8C9D-E7AE-1C67F4328CC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59298" y="604276"/>
            <a:ext cx="1194745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</a:rPr>
              <a:t>Activité 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5. Écris sur les points : 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sa – si – </a:t>
            </a:r>
            <a:r>
              <a:rPr lang="fr-FR" sz="2450" b="1" dirty="0" err="1">
                <a:solidFill>
                  <a:prstClr val="white">
                    <a:lumMod val="65000"/>
                  </a:prstClr>
                </a:solidFill>
                <a:latin typeface="Calibri "/>
              </a:rPr>
              <a:t>so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 – su – se.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6C7BD44-6F33-83BF-39E3-D5C0B344BE5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746" b="99153" l="0" r="98833">
                        <a14:foregroundMark x1="3993" y1="70976" x2="778" y2="75424"/>
                        <a14:foregroundMark x1="43969" y1="15678" x2="28738" y2="36747"/>
                        <a14:foregroundMark x1="44747" y1="15678" x2="76923" y2="43383"/>
                        <a14:foregroundMark x1="95322" y1="77542" x2="98833" y2="84322"/>
                        <a14:foregroundMark x1="95029" y1="76976" x2="95322" y2="77542"/>
                        <a14:foregroundMark x1="58755" y1="25424" x2="52140" y2="95339"/>
                        <a14:foregroundMark x1="52140" y1="95339" x2="52140" y2="95339"/>
                        <a14:foregroundMark x1="50584" y1="36017" x2="14397" y2="89407"/>
                        <a14:foregroundMark x1="4972" y1="72157" x2="4280" y2="72881"/>
                        <a14:foregroundMark x1="8778" y1="68174" x2="8600" y2="68360"/>
                        <a14:foregroundMark x1="43969" y1="31356" x2="34436" y2="41330"/>
                        <a14:foregroundMark x1="8791" y1="76528" x2="29961" y2="93644"/>
                        <a14:foregroundMark x1="4280" y1="72881" x2="8206" y2="76055"/>
                        <a14:foregroundMark x1="29961" y1="93644" x2="67315" y2="91102"/>
                        <a14:foregroundMark x1="67315" y1="91102" x2="81328" y2="73038"/>
                        <a14:foregroundMark x1="73460" y1="45646" x2="62257" y2="27542"/>
                        <a14:foregroundMark x1="62257" y1="27542" x2="30350" y2="28814"/>
                        <a14:foregroundMark x1="8795" y1="68188" x2="8661" y2="68433"/>
                        <a14:foregroundMark x1="30350" y1="28814" x2="26842" y2="35222"/>
                        <a14:foregroundMark x1="7517" y1="75225" x2="20233" y2="98305"/>
                        <a14:foregroundMark x1="20233" y1="98305" x2="98833" y2="99153"/>
                        <a14:foregroundMark x1="98833" y1="99153" x2="96498" y2="84322"/>
                        <a14:foregroundMark x1="68482" y1="79661" x2="24125" y2="86864"/>
                        <a14:foregroundMark x1="28794" y1="67373" x2="59533" y2="86017"/>
                        <a14:foregroundMark x1="40078" y1="56780" x2="25681" y2="81356"/>
                        <a14:foregroundMark x1="7782" y1="93644" x2="24125" y2="96610"/>
                        <a14:foregroundMark x1="10117" y1="99153" x2="19844" y2="81356"/>
                        <a14:backgroundMark x1="31518" y1="38983" x2="7782" y2="67373"/>
                        <a14:backgroundMark x1="7782" y1="67373" x2="3113" y2="69915"/>
                        <a14:backgroundMark x1="73930" y1="45339" x2="94163" y2="77542"/>
                        <a14:backgroundMark x1="94163" y1="77542" x2="94163" y2="7754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18928" y="549104"/>
            <a:ext cx="1772569" cy="1627727"/>
          </a:xfrm>
          <a:prstGeom prst="rect">
            <a:avLst/>
          </a:prstGeom>
          <a:ln>
            <a:noFill/>
          </a:ln>
          <a:effectLst/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93D4F501-E497-73CC-FD18-E461AAA6FDE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29819353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4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140B639A-BEC5-1FAF-1256-0DFB75FAE1E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624300" y="3482196"/>
            <a:ext cx="12467400" cy="332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7095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7488C6-F760-1313-1336-587D9F760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CA64F278-A0C1-6FA8-BB78-F1657E24EBC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75246" y="757561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90">
              <a:defRPr/>
            </a:pPr>
            <a:endParaRPr lang="fr-MA" sz="135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7CE9AA1-3631-11F9-A95F-C1808F8226C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8" y="539065"/>
            <a:ext cx="1152939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Corrigez !</a:t>
            </a:r>
            <a:endParaRPr kumimoji="0" lang="ar-MA" sz="24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 "/>
            </a:endParaRP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</a:rPr>
              <a:t>Je vais circuler entre les rangs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 pour vérifier votre écriture. 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</a:rPr>
              <a:t>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BC4B493-540B-7B52-BE44-D40A2399415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0C55315-7E6C-66A1-441C-2484E6735AE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29819353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4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C7135F3D-08D7-902E-D48B-DAEE65EB7B4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604412" y="3662134"/>
            <a:ext cx="12507175" cy="331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76569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1" y="548413"/>
            <a:ext cx="1218167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!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2698358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Au revoir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7" y="1287662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87" y="1287662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13728" y="8681310"/>
            <a:ext cx="96491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3" tIns="51413" rIns="102863" bIns="51413" anchor="ctr" anchorCtr="0">
            <a:noAutofit/>
          </a:bodyPr>
          <a:lstStyle/>
          <a:p>
            <a:pPr algn="ctr" defTabSz="1371567">
              <a:buClr>
                <a:srgbClr val="000000"/>
              </a:buClr>
              <a:buSzPts val="1800"/>
              <a:defRPr/>
            </a:pPr>
            <a:endParaRPr sz="3150" b="1" kern="0">
              <a:solidFill>
                <a:srgbClr val="000000"/>
              </a:solidFill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6336" y="8529247"/>
            <a:ext cx="3148070" cy="415199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700">
              <a:defRPr/>
            </a:pPr>
            <a:endParaRPr lang="fr-FR" sz="2250" b="1">
              <a:solidFill>
                <a:srgbClr val="FFFFFF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6336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lang="en-GB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ctr" defTabSz="1028700" rtl="1"/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(استمارة موجهة للأساتذة)</a:t>
            </a:r>
            <a:endParaRPr lang="fr-FR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086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ولوج عبر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hlinkClick r:id="rId14"/>
              </a:rPr>
              <a:t>الرابط أسفله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: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912436" y="3179077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مسح رمز الاستجابة السريعة 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(</a:t>
            </a:r>
            <a:r>
              <a:rPr lang="en-GB" sz="3600" b="1" dirty="0" err="1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Qr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code)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808659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أو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672281" y="5930679"/>
            <a:ext cx="7339913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700"/>
            <a:r>
              <a:rPr lang="fr-FR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https://forms.gle/MPZzCzLAsK9AdG8x7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10540" y="4244657"/>
            <a:ext cx="4547729" cy="4547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9682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6974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5158821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,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34937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7</TotalTime>
  <Words>1709</Words>
  <PresentationFormat>Personnalisé</PresentationFormat>
  <Paragraphs>337</Paragraphs>
  <Slides>58</Slides>
  <Notes>1</Notes>
  <HiddenSlides>0</HiddenSlides>
  <MMClips>2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8</vt:i4>
      </vt:variant>
    </vt:vector>
  </HeadingPairs>
  <TitlesOfParts>
    <vt:vector size="75" baseType="lpstr">
      <vt:lpstr>Traditional Arabic</vt:lpstr>
      <vt:lpstr>KG Primary Penmanship 2</vt:lpstr>
      <vt:lpstr>Montserrat</vt:lpstr>
      <vt:lpstr>Dosis</vt:lpstr>
      <vt:lpstr>Calibri </vt:lpstr>
      <vt:lpstr>Arial</vt:lpstr>
      <vt:lpstr>Candara</vt:lpstr>
      <vt:lpstr>Helvetica Neue Light</vt:lpstr>
      <vt:lpstr>Cambria</vt:lpstr>
      <vt:lpstr>Dosis Bold</vt:lpstr>
      <vt:lpstr>Carelia</vt:lpstr>
      <vt:lpstr>Calibri</vt:lpstr>
      <vt:lpstr>1_Office Theme</vt:lpstr>
      <vt:lpstr>Office Theme</vt:lpstr>
      <vt:lpstr>2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19T16:02:53Z</dcterms:modified>
</cp:coreProperties>
</file>